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xml" ContentType="application/vnd.openxmlformats-officedocument.presentationml.notesSlide+xml"/>
  <Override PartName="/ppt/tags/tag23.xml" ContentType="application/vnd.openxmlformats-officedocument.presentationml.tags+xml"/>
  <Override PartName="/ppt/notesSlides/notesSlide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3.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4.xml" ContentType="application/vnd.openxmlformats-officedocument.presentationml.notesSlide+xml"/>
  <Override PartName="/ppt/tags/tag70.xml" ContentType="application/vnd.openxmlformats-officedocument.presentationml.tags+xml"/>
  <Override PartName="/ppt/notesSlides/notesSlide5.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6.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7.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3"/>
  </p:notesMasterIdLst>
  <p:sldIdLst>
    <p:sldId id="256" r:id="rId5"/>
    <p:sldId id="257" r:id="rId6"/>
    <p:sldId id="259" r:id="rId7"/>
    <p:sldId id="260" r:id="rId8"/>
    <p:sldId id="261" r:id="rId9"/>
    <p:sldId id="262" r:id="rId10"/>
    <p:sldId id="263" r:id="rId11"/>
    <p:sldId id="265" r:id="rId12"/>
  </p:sldIdLst>
  <p:sldSz cx="12192000" cy="6858000"/>
  <p:notesSz cx="6858000" cy="9144000"/>
  <p:custDataLst>
    <p:tags r:id="rId14"/>
  </p:custDataLst>
  <p:defaultTextStyle>
    <a:defPPr>
      <a:defRPr lang="en-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obias Maurer" initials="TM" lastIdx="0" clrIdx="1"/>
  <p:cmAuthor id="7" name="Carina Geueke" initials="CG" lastIdx="0" clrIdx="8"/>
  <p:cmAuthor id="1" name="Veronika Philipp" initials="VP" lastIdx="0" clrIdx="2"/>
  <p:cmAuthor id="8" name="Patrick Schumacher" initials="PS" lastIdx="0" clrIdx="9"/>
  <p:cmAuthor id="2" name="Stephan Kuhnert" initials="SK" lastIdx="0" clrIdx="3"/>
  <p:cmAuthor id="9" name="Tom Becker" initials="TB" lastIdx="0" clrIdx="10"/>
  <p:cmAuthor id="3" name="Teresa Almeida" initials="TA" lastIdx="0" clrIdx="4"/>
  <p:cmAuthor id="10" name="Ekaterina Osmanovich" initials="EO" lastIdx="0" clrIdx="11"/>
  <p:cmAuthor id="4" name="Victor Rodriguez" initials="VR" lastIdx="0" clrIdx="5"/>
  <p:cmAuthor id="5" name="Jason Pugliese" initials="JP" lastIdx="0" clrIdx="6"/>
  <p:cmAuthor id="6" name="Felix Brüning" initials="FB"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02" autoAdjust="0"/>
    <p:restoredTop sz="97143" autoAdjust="0"/>
  </p:normalViewPr>
  <p:slideViewPr>
    <p:cSldViewPr snapToGrid="0">
      <p:cViewPr varScale="1">
        <p:scale>
          <a:sx n="154" d="100"/>
          <a:sy n="154" d="100"/>
        </p:scale>
        <p:origin x="765" y="78"/>
      </p:cViewPr>
      <p:guideLst/>
    </p:cSldViewPr>
  </p:slideViewPr>
  <p:notesTextViewPr>
    <p:cViewPr>
      <p:scale>
        <a:sx n="1" d="1"/>
        <a:sy n="1" d="1"/>
      </p:scale>
      <p:origin x="0" y="0"/>
    </p:cViewPr>
  </p:notesTextViewPr>
  <p:sorterViewPr>
    <p:cViewPr>
      <p:scale>
        <a:sx n="100" d="100"/>
        <a:sy n="100" d="100"/>
      </p:scale>
      <p:origin x="0" y="0"/>
    </p:cViewPr>
  </p:sorterViewPr>
  <p:notesViewPr>
    <p:cSldViewPr>
      <p:cViewPr>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P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2067A9-F686-F844-8EA3-D4DA87835F33}" type="datetimeFigureOut">
              <a:rPr lang="en-PT"/>
              <a:t>09/06/2024</a:t>
            </a:fld>
            <a:endParaRPr lang="en-P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P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0824F8-5313-0C4C-8B10-6D0C2CC92225}" type="slidenum">
              <a:rPr lang="en-PT"/>
              <a:t>‹#›</a:t>
            </a:fld>
            <a:endParaRPr lang="en-PT"/>
          </a:p>
        </p:txBody>
      </p:sp>
    </p:spTree>
    <p:extLst>
      <p:ext uri="{BB962C8B-B14F-4D97-AF65-F5344CB8AC3E}">
        <p14:creationId xmlns:p14="http://schemas.microsoft.com/office/powerpoint/2010/main" val="8465215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00824F8-5313-0C4C-8B10-6D0C2CC92225}" type="slidenum">
              <a:rPr lang="en-GB"/>
              <a:t>1</a:t>
            </a:fld>
            <a:endParaRPr lang="en-GB"/>
          </a:p>
        </p:txBody>
      </p:sp>
    </p:spTree>
    <p:extLst>
      <p:ext uri="{BB962C8B-B14F-4D97-AF65-F5344CB8AC3E}">
        <p14:creationId xmlns:p14="http://schemas.microsoft.com/office/powerpoint/2010/main" val="23128541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23534940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92138" y="525463"/>
            <a:ext cx="8066088" cy="4538662"/>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1E2CD82-72F9-4A12-B4DB-53857CF7D08D}" type="slidenum">
              <a:rPr lang="en-GB"/>
              <a:t>3</a:t>
            </a:fld>
            <a:endParaRPr lang="en-GB"/>
          </a:p>
        </p:txBody>
      </p:sp>
    </p:spTree>
    <p:extLst>
      <p:ext uri="{BB962C8B-B14F-4D97-AF65-F5344CB8AC3E}">
        <p14:creationId xmlns:p14="http://schemas.microsoft.com/office/powerpoint/2010/main" val="35646398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9233686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1030785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23295653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6313" y="242888"/>
            <a:ext cx="4613275" cy="2595562"/>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20543902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6313" y="242888"/>
            <a:ext cx="4613275" cy="2595562"/>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2436430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7.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p:bg>
      <p:bgRef idx="1001">
        <a:schemeClr val="bg2"/>
      </p:bgRef>
    </p:bg>
    <p:spTree>
      <p:nvGrpSpPr>
        <p:cNvPr id="1" name=""/>
        <p:cNvGrpSpPr/>
        <p:nvPr/>
      </p:nvGrpSpPr>
      <p:grpSpPr>
        <a:xfrm>
          <a:off x="0" y="0"/>
          <a:ext cx="0" cy="0"/>
          <a:chOff x="0" y="0"/>
          <a:chExt cx="0" cy="0"/>
        </a:xfrm>
      </p:grpSpPr>
      <p:sp>
        <p:nvSpPr>
          <p:cNvPr id="18" name="Squiggle">
            <a:extLst>
              <a:ext uri="{FF2B5EF4-FFF2-40B4-BE49-F238E27FC236}">
                <a16:creationId xmlns:a16="http://schemas.microsoft.com/office/drawing/2014/main" id="{463F5D0C-65C5-086F-4E60-1F0A660F42B5}"/>
              </a:ext>
            </a:extLst>
          </p:cNvPr>
          <p:cNvSpPr/>
          <p:nvPr userDrawn="1"/>
        </p:nvSpPr>
        <p:spPr>
          <a:xfrm rot="4430537">
            <a:off x="2406828" y="-2403022"/>
            <a:ext cx="7944708" cy="13618868"/>
          </a:xfrm>
          <a:custGeom>
            <a:avLst/>
            <a:gdLst>
              <a:gd name="connsiteX0" fmla="*/ 0 w 7944708"/>
              <a:gd name="connsiteY0" fmla="*/ 4685805 h 13618868"/>
              <a:gd name="connsiteX1" fmla="*/ 1357604 w 7944708"/>
              <a:gd name="connsiteY1" fmla="*/ 0 h 13618868"/>
              <a:gd name="connsiteX2" fmla="*/ 4049990 w 7944708"/>
              <a:gd name="connsiteY2" fmla="*/ 780056 h 13618868"/>
              <a:gd name="connsiteX3" fmla="*/ 4162100 w 7944708"/>
              <a:gd name="connsiteY3" fmla="*/ 1058737 h 13618868"/>
              <a:gd name="connsiteX4" fmla="*/ 6321097 w 7944708"/>
              <a:gd name="connsiteY4" fmla="*/ 5355046 h 13618868"/>
              <a:gd name="connsiteX5" fmla="*/ 5623247 w 7944708"/>
              <a:gd name="connsiteY5" fmla="*/ 1545335 h 13618868"/>
              <a:gd name="connsiteX6" fmla="*/ 5602778 w 7944708"/>
              <a:gd name="connsiteY6" fmla="*/ 1229940 h 13618868"/>
              <a:gd name="connsiteX7" fmla="*/ 7944708 w 7944708"/>
              <a:gd name="connsiteY7" fmla="*/ 1908460 h 13618868"/>
              <a:gd name="connsiteX8" fmla="*/ 5453795 w 7944708"/>
              <a:gd name="connsiteY8" fmla="*/ 10505918 h 13618868"/>
              <a:gd name="connsiteX9" fmla="*/ 5088659 w 7944708"/>
              <a:gd name="connsiteY9" fmla="*/ 9925772 h 13618868"/>
              <a:gd name="connsiteX10" fmla="*/ 2348310 w 7944708"/>
              <a:gd name="connsiteY10" fmla="*/ 4969698 h 13618868"/>
              <a:gd name="connsiteX11" fmla="*/ 4916023 w 7944708"/>
              <a:gd name="connsiteY11" fmla="*/ 12050905 h 13618868"/>
              <a:gd name="connsiteX12" fmla="*/ 4969351 w 7944708"/>
              <a:gd name="connsiteY12" fmla="*/ 12177989 h 13618868"/>
              <a:gd name="connsiteX13" fmla="*/ 4551890 w 7944708"/>
              <a:gd name="connsiteY13" fmla="*/ 13618868 h 13618868"/>
              <a:gd name="connsiteX14" fmla="*/ 2127054 w 7944708"/>
              <a:gd name="connsiteY14" fmla="*/ 12916328 h 13618868"/>
              <a:gd name="connsiteX15" fmla="*/ 2070213 w 7944708"/>
              <a:gd name="connsiteY15" fmla="*/ 12724059 h 13618868"/>
              <a:gd name="connsiteX16" fmla="*/ 7671 w 7944708"/>
              <a:gd name="connsiteY16" fmla="*/ 4718907 h 13618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44707" h="13618868">
                <a:moveTo>
                  <a:pt x="0" y="4685805"/>
                </a:moveTo>
                <a:lnTo>
                  <a:pt x="1357604" y="0"/>
                </a:lnTo>
                <a:lnTo>
                  <a:pt x="4049990" y="780056"/>
                </a:lnTo>
                <a:lnTo>
                  <a:pt x="4162100" y="1058737"/>
                </a:lnTo>
                <a:cubicBezTo>
                  <a:pt x="4806345" y="2617724"/>
                  <a:pt x="5521223" y="4153526"/>
                  <a:pt x="6321097" y="5355046"/>
                </a:cubicBezTo>
                <a:cubicBezTo>
                  <a:pt x="6072429" y="4057350"/>
                  <a:pt x="5720718" y="2665455"/>
                  <a:pt x="5623247" y="1545335"/>
                </a:cubicBezTo>
                <a:lnTo>
                  <a:pt x="5602778" y="1229940"/>
                </a:lnTo>
                <a:lnTo>
                  <a:pt x="7944708" y="1908460"/>
                </a:lnTo>
                <a:lnTo>
                  <a:pt x="5453795" y="10505918"/>
                </a:lnTo>
                <a:lnTo>
                  <a:pt x="5088659" y="9925772"/>
                </a:lnTo>
                <a:cubicBezTo>
                  <a:pt x="4087604" y="8295081"/>
                  <a:pt x="3029733" y="6270664"/>
                  <a:pt x="2348310" y="4969698"/>
                </a:cubicBezTo>
                <a:cubicBezTo>
                  <a:pt x="2113685" y="4521756"/>
                  <a:pt x="3783862" y="9322882"/>
                  <a:pt x="4916023" y="12050905"/>
                </a:cubicBezTo>
                <a:lnTo>
                  <a:pt x="4969351" y="12177989"/>
                </a:lnTo>
                <a:lnTo>
                  <a:pt x="4551890" y="13618868"/>
                </a:lnTo>
                <a:lnTo>
                  <a:pt x="2127054" y="12916328"/>
                </a:lnTo>
                <a:lnTo>
                  <a:pt x="2070213" y="12724059"/>
                </a:lnTo>
                <a:cubicBezTo>
                  <a:pt x="1303556" y="10084950"/>
                  <a:pt x="552023" y="7053271"/>
                  <a:pt x="7671" y="4718907"/>
                </a:cubicBezTo>
                <a:close/>
              </a:path>
            </a:pathLst>
          </a:custGeom>
          <a:gradFill>
            <a:gsLst>
              <a:gs pos="0">
                <a:srgbClr val="00316C"/>
              </a:gs>
              <a:gs pos="15000">
                <a:srgbClr val="01326E"/>
              </a:gs>
              <a:gs pos="30000">
                <a:srgbClr val="063878"/>
              </a:gs>
              <a:gs pos="78000">
                <a:srgbClr val="0F4287"/>
              </a:gs>
            </a:gsLst>
            <a:lin ang="15000009" scaled="1"/>
          </a:gradFill>
          <a:ln w="15187" cap="flat">
            <a:noFill/>
            <a:prstDash val="solid"/>
            <a:miter/>
          </a:ln>
        </p:spPr>
        <p:txBody>
          <a:bodyPr rtlCol="0" anchor="ctr"/>
          <a:lstStyle/>
          <a:p>
            <a:endParaRPr lang="en-US"/>
          </a:p>
        </p:txBody>
      </p:sp>
      <p:sp>
        <p:nvSpPr>
          <p:cNvPr id="10" name="Blue Box Shape">
            <a:extLst>
              <a:ext uri="{FF2B5EF4-FFF2-40B4-BE49-F238E27FC236}">
                <a16:creationId xmlns:a16="http://schemas.microsoft.com/office/drawing/2014/main" id="{76823654-0DEA-9800-76C1-EB05AC4A18AE}"/>
              </a:ext>
            </a:extLst>
          </p:cNvPr>
          <p:cNvSpPr/>
          <p:nvPr/>
        </p:nvSpPr>
        <p:spPr bwMode="white">
          <a:xfrm>
            <a:off x="0" y="0"/>
            <a:ext cx="4860000" cy="46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T" baseline="0">
              <a:solidFill>
                <a:schemeClr val="tx1"/>
              </a:solidFill>
            </a:endParaRPr>
          </a:p>
        </p:txBody>
      </p:sp>
      <p:sp>
        <p:nvSpPr>
          <p:cNvPr id="9" name="Logo">
            <a:extLst>
              <a:ext uri="{FF2B5EF4-FFF2-40B4-BE49-F238E27FC236}">
                <a16:creationId xmlns:a16="http://schemas.microsoft.com/office/drawing/2014/main" id="{F9D5D955-DB32-6A5C-C407-2B252C3BFE21}"/>
              </a:ext>
            </a:extLst>
          </p:cNvPr>
          <p:cNvSpPr/>
          <p:nvPr/>
        </p:nvSpPr>
        <p:spPr bwMode="black">
          <a:xfrm>
            <a:off x="9211095" y="767924"/>
            <a:ext cx="2442107" cy="660400"/>
          </a:xfrm>
          <a:custGeom>
            <a:avLst/>
            <a:gdLst>
              <a:gd name="connsiteX0" fmla="*/ 6897053 w 7750397"/>
              <a:gd name="connsiteY0" fmla="*/ 282131 h 2095880"/>
              <a:gd name="connsiteX1" fmla="*/ 6921151 w 7750397"/>
              <a:gd name="connsiteY1" fmla="*/ 306229 h 2095880"/>
              <a:gd name="connsiteX2" fmla="*/ 6921151 w 7750397"/>
              <a:gd name="connsiteY2" fmla="*/ 709708 h 2095880"/>
              <a:gd name="connsiteX3" fmla="*/ 6897053 w 7750397"/>
              <a:gd name="connsiteY3" fmla="*/ 733806 h 2095880"/>
              <a:gd name="connsiteX4" fmla="*/ 6493574 w 7750397"/>
              <a:gd name="connsiteY4" fmla="*/ 733806 h 2095880"/>
              <a:gd name="connsiteX5" fmla="*/ 6469475 w 7750397"/>
              <a:gd name="connsiteY5" fmla="*/ 709708 h 2095880"/>
              <a:gd name="connsiteX6" fmla="*/ 6469475 w 7750397"/>
              <a:gd name="connsiteY6" fmla="*/ 306229 h 2095880"/>
              <a:gd name="connsiteX7" fmla="*/ 6493574 w 7750397"/>
              <a:gd name="connsiteY7" fmla="*/ 282131 h 2095880"/>
              <a:gd name="connsiteX8" fmla="*/ 6897053 w 7750397"/>
              <a:gd name="connsiteY8" fmla="*/ 282131 h 2095880"/>
              <a:gd name="connsiteX9" fmla="*/ 7040594 w 7750397"/>
              <a:gd name="connsiteY9" fmla="*/ 829342 h 2095880"/>
              <a:gd name="connsiteX10" fmla="*/ 7016497 w 7750397"/>
              <a:gd name="connsiteY10" fmla="*/ 853345 h 2095880"/>
              <a:gd name="connsiteX11" fmla="*/ 7016497 w 7750397"/>
              <a:gd name="connsiteY11" fmla="*/ 1256919 h 2095880"/>
              <a:gd name="connsiteX12" fmla="*/ 7040594 w 7750397"/>
              <a:gd name="connsiteY12" fmla="*/ 1281017 h 2095880"/>
              <a:gd name="connsiteX13" fmla="*/ 7444073 w 7750397"/>
              <a:gd name="connsiteY13" fmla="*/ 1281017 h 2095880"/>
              <a:gd name="connsiteX14" fmla="*/ 7468077 w 7750397"/>
              <a:gd name="connsiteY14" fmla="*/ 1256919 h 2095880"/>
              <a:gd name="connsiteX15" fmla="*/ 7468077 w 7750397"/>
              <a:gd name="connsiteY15" fmla="*/ 853345 h 2095880"/>
              <a:gd name="connsiteX16" fmla="*/ 7444073 w 7750397"/>
              <a:gd name="connsiteY16" fmla="*/ 829342 h 2095880"/>
              <a:gd name="connsiteX17" fmla="*/ 7040594 w 7750397"/>
              <a:gd name="connsiteY17" fmla="*/ 829342 h 2095880"/>
              <a:gd name="connsiteX18" fmla="*/ 7750398 w 7750397"/>
              <a:gd name="connsiteY18" fmla="*/ 366998 h 2095880"/>
              <a:gd name="connsiteX19" fmla="*/ 7383304 w 7750397"/>
              <a:gd name="connsiteY19" fmla="*/ 0 h 2095880"/>
              <a:gd name="connsiteX20" fmla="*/ 7040309 w 7750397"/>
              <a:gd name="connsiteY20" fmla="*/ 0 h 2095880"/>
              <a:gd name="connsiteX21" fmla="*/ 7016211 w 7750397"/>
              <a:gd name="connsiteY21" fmla="*/ 24098 h 2095880"/>
              <a:gd name="connsiteX22" fmla="*/ 7016401 w 7750397"/>
              <a:gd name="connsiteY22" fmla="*/ 709708 h 2095880"/>
              <a:gd name="connsiteX23" fmla="*/ 7040499 w 7750397"/>
              <a:gd name="connsiteY23" fmla="*/ 733806 h 2095880"/>
              <a:gd name="connsiteX24" fmla="*/ 7726299 w 7750397"/>
              <a:gd name="connsiteY24" fmla="*/ 733806 h 2095880"/>
              <a:gd name="connsiteX25" fmla="*/ 7750398 w 7750397"/>
              <a:gd name="connsiteY25" fmla="*/ 709708 h 2095880"/>
              <a:gd name="connsiteX26" fmla="*/ 7750398 w 7750397"/>
              <a:gd name="connsiteY26" fmla="*/ 366998 h 2095880"/>
              <a:gd name="connsiteX27" fmla="*/ 6719602 w 7750397"/>
              <a:gd name="connsiteY27" fmla="*/ 829437 h 2095880"/>
              <a:gd name="connsiteX28" fmla="*/ 6695599 w 7750397"/>
              <a:gd name="connsiteY28" fmla="*/ 853440 h 2095880"/>
              <a:gd name="connsiteX29" fmla="*/ 6695599 w 7750397"/>
              <a:gd name="connsiteY29" fmla="*/ 1031177 h 2095880"/>
              <a:gd name="connsiteX30" fmla="*/ 6719602 w 7750397"/>
              <a:gd name="connsiteY30" fmla="*/ 1055275 h 2095880"/>
              <a:gd name="connsiteX31" fmla="*/ 6896957 w 7750397"/>
              <a:gd name="connsiteY31" fmla="*/ 1055275 h 2095880"/>
              <a:gd name="connsiteX32" fmla="*/ 6921056 w 7750397"/>
              <a:gd name="connsiteY32" fmla="*/ 1031272 h 2095880"/>
              <a:gd name="connsiteX33" fmla="*/ 6921056 w 7750397"/>
              <a:gd name="connsiteY33" fmla="*/ 853440 h 2095880"/>
              <a:gd name="connsiteX34" fmla="*/ 6896957 w 7750397"/>
              <a:gd name="connsiteY34" fmla="*/ 829437 h 2095880"/>
              <a:gd name="connsiteX35" fmla="*/ 6719602 w 7750397"/>
              <a:gd name="connsiteY35" fmla="*/ 829437 h 2095880"/>
              <a:gd name="connsiteX36" fmla="*/ 1851660 w 7750397"/>
              <a:gd name="connsiteY36" fmla="*/ 1069181 h 2095880"/>
              <a:gd name="connsiteX37" fmla="*/ 1712595 w 7750397"/>
              <a:gd name="connsiteY37" fmla="*/ 1099566 h 2095880"/>
              <a:gd name="connsiteX38" fmla="*/ 1599057 w 7750397"/>
              <a:gd name="connsiteY38" fmla="*/ 1194721 h 2095880"/>
              <a:gd name="connsiteX39" fmla="*/ 1508189 w 7750397"/>
              <a:gd name="connsiteY39" fmla="*/ 1100233 h 2095880"/>
              <a:gd name="connsiteX40" fmla="*/ 1387126 w 7750397"/>
              <a:gd name="connsiteY40" fmla="*/ 1070515 h 2095880"/>
              <a:gd name="connsiteX41" fmla="*/ 1251299 w 7750397"/>
              <a:gd name="connsiteY41" fmla="*/ 1100900 h 2095880"/>
              <a:gd name="connsiteX42" fmla="*/ 1145000 w 7750397"/>
              <a:gd name="connsiteY42" fmla="*/ 1194816 h 2095880"/>
              <a:gd name="connsiteX43" fmla="*/ 1145000 w 7750397"/>
              <a:gd name="connsiteY43" fmla="*/ 1089755 h 2095880"/>
              <a:gd name="connsiteX44" fmla="*/ 887159 w 7750397"/>
              <a:gd name="connsiteY44" fmla="*/ 1089755 h 2095880"/>
              <a:gd name="connsiteX45" fmla="*/ 887159 w 7750397"/>
              <a:gd name="connsiteY45" fmla="*/ 1808512 h 2095880"/>
              <a:gd name="connsiteX46" fmla="*/ 1166717 w 7750397"/>
              <a:gd name="connsiteY46" fmla="*/ 1808512 h 2095880"/>
              <a:gd name="connsiteX47" fmla="*/ 1166717 w 7750397"/>
              <a:gd name="connsiteY47" fmla="*/ 1422368 h 2095880"/>
              <a:gd name="connsiteX48" fmla="*/ 1191292 w 7750397"/>
              <a:gd name="connsiteY48" fmla="*/ 1327785 h 2095880"/>
              <a:gd name="connsiteX49" fmla="*/ 1263110 w 7750397"/>
              <a:gd name="connsiteY49" fmla="*/ 1295400 h 2095880"/>
              <a:gd name="connsiteX50" fmla="*/ 1339501 w 7750397"/>
              <a:gd name="connsiteY50" fmla="*/ 1327499 h 2095880"/>
              <a:gd name="connsiteX51" fmla="*/ 1362837 w 7750397"/>
              <a:gd name="connsiteY51" fmla="*/ 1433608 h 2095880"/>
              <a:gd name="connsiteX52" fmla="*/ 1362837 w 7750397"/>
              <a:gd name="connsiteY52" fmla="*/ 1808512 h 2095880"/>
              <a:gd name="connsiteX53" fmla="*/ 1641062 w 7750397"/>
              <a:gd name="connsiteY53" fmla="*/ 1808512 h 2095880"/>
              <a:gd name="connsiteX54" fmla="*/ 1641062 w 7750397"/>
              <a:gd name="connsiteY54" fmla="*/ 1426369 h 2095880"/>
              <a:gd name="connsiteX55" fmla="*/ 1665351 w 7750397"/>
              <a:gd name="connsiteY55" fmla="*/ 1327214 h 2095880"/>
              <a:gd name="connsiteX56" fmla="*/ 1741456 w 7750397"/>
              <a:gd name="connsiteY56" fmla="*/ 1295400 h 2095880"/>
              <a:gd name="connsiteX57" fmla="*/ 1814608 w 7750397"/>
              <a:gd name="connsiteY57" fmla="*/ 1325880 h 2095880"/>
              <a:gd name="connsiteX58" fmla="*/ 1837277 w 7750397"/>
              <a:gd name="connsiteY58" fmla="*/ 1423702 h 2095880"/>
              <a:gd name="connsiteX59" fmla="*/ 1837277 w 7750397"/>
              <a:gd name="connsiteY59" fmla="*/ 1808512 h 2095880"/>
              <a:gd name="connsiteX60" fmla="*/ 2116741 w 7750397"/>
              <a:gd name="connsiteY60" fmla="*/ 1808512 h 2095880"/>
              <a:gd name="connsiteX61" fmla="*/ 2116741 w 7750397"/>
              <a:gd name="connsiteY61" fmla="*/ 1318546 h 2095880"/>
              <a:gd name="connsiteX62" fmla="*/ 2047208 w 7750397"/>
              <a:gd name="connsiteY62" fmla="*/ 1134713 h 2095880"/>
              <a:gd name="connsiteX63" fmla="*/ 1851660 w 7750397"/>
              <a:gd name="connsiteY63" fmla="*/ 1069277 h 2095880"/>
              <a:gd name="connsiteX64" fmla="*/ 411575 w 7750397"/>
              <a:gd name="connsiteY64" fmla="*/ 1066324 h 2095880"/>
              <a:gd name="connsiteX65" fmla="*/ 0 w 7750397"/>
              <a:gd name="connsiteY65" fmla="*/ 1456277 h 2095880"/>
              <a:gd name="connsiteX66" fmla="*/ 400717 w 7750397"/>
              <a:gd name="connsiteY66" fmla="*/ 1834134 h 2095880"/>
              <a:gd name="connsiteX67" fmla="*/ 796100 w 7750397"/>
              <a:gd name="connsiteY67" fmla="*/ 1596676 h 2095880"/>
              <a:gd name="connsiteX68" fmla="*/ 523494 w 7750397"/>
              <a:gd name="connsiteY68" fmla="*/ 1596676 h 2095880"/>
              <a:gd name="connsiteX69" fmla="*/ 416814 w 7750397"/>
              <a:gd name="connsiteY69" fmla="*/ 1656112 h 2095880"/>
              <a:gd name="connsiteX70" fmla="*/ 284607 w 7750397"/>
              <a:gd name="connsiteY70" fmla="*/ 1513046 h 2095880"/>
              <a:gd name="connsiteX71" fmla="*/ 818959 w 7750397"/>
              <a:gd name="connsiteY71" fmla="*/ 1513046 h 2095880"/>
              <a:gd name="connsiteX72" fmla="*/ 818959 w 7750397"/>
              <a:gd name="connsiteY72" fmla="*/ 1495520 h 2095880"/>
              <a:gd name="connsiteX73" fmla="*/ 411385 w 7750397"/>
              <a:gd name="connsiteY73" fmla="*/ 1066419 h 2095880"/>
              <a:gd name="connsiteX74" fmla="*/ 284797 w 7750397"/>
              <a:gd name="connsiteY74" fmla="*/ 1369885 h 2095880"/>
              <a:gd name="connsiteX75" fmla="*/ 408908 w 7750397"/>
              <a:gd name="connsiteY75" fmla="*/ 1236250 h 2095880"/>
              <a:gd name="connsiteX76" fmla="*/ 538448 w 7750397"/>
              <a:gd name="connsiteY76" fmla="*/ 1369885 h 2095880"/>
              <a:gd name="connsiteX77" fmla="*/ 284797 w 7750397"/>
              <a:gd name="connsiteY77" fmla="*/ 1369885 h 2095880"/>
              <a:gd name="connsiteX78" fmla="*/ 2702052 w 7750397"/>
              <a:gd name="connsiteY78" fmla="*/ 1072991 h 2095880"/>
              <a:gd name="connsiteX79" fmla="*/ 2470023 w 7750397"/>
              <a:gd name="connsiteY79" fmla="*/ 1183672 h 2095880"/>
              <a:gd name="connsiteX80" fmla="*/ 2470023 w 7750397"/>
              <a:gd name="connsiteY80" fmla="*/ 1091851 h 2095880"/>
              <a:gd name="connsiteX81" fmla="*/ 2217706 w 7750397"/>
              <a:gd name="connsiteY81" fmla="*/ 1091851 h 2095880"/>
              <a:gd name="connsiteX82" fmla="*/ 2217706 w 7750397"/>
              <a:gd name="connsiteY82" fmla="*/ 2095881 h 2095880"/>
              <a:gd name="connsiteX83" fmla="*/ 2494312 w 7750397"/>
              <a:gd name="connsiteY83" fmla="*/ 2095881 h 2095880"/>
              <a:gd name="connsiteX84" fmla="*/ 2494312 w 7750397"/>
              <a:gd name="connsiteY84" fmla="*/ 1740980 h 2095880"/>
              <a:gd name="connsiteX85" fmla="*/ 2696718 w 7750397"/>
              <a:gd name="connsiteY85" fmla="*/ 1832705 h 2095880"/>
              <a:gd name="connsiteX86" fmla="*/ 3013901 w 7750397"/>
              <a:gd name="connsiteY86" fmla="*/ 1452182 h 2095880"/>
              <a:gd name="connsiteX87" fmla="*/ 2702147 w 7750397"/>
              <a:gd name="connsiteY87" fmla="*/ 1072991 h 2095880"/>
              <a:gd name="connsiteX88" fmla="*/ 2611660 w 7750397"/>
              <a:gd name="connsiteY88" fmla="*/ 1614202 h 2095880"/>
              <a:gd name="connsiteX89" fmla="*/ 2494312 w 7750397"/>
              <a:gd name="connsiteY89" fmla="*/ 1452182 h 2095880"/>
              <a:gd name="connsiteX90" fmla="*/ 2614422 w 7750397"/>
              <a:gd name="connsiteY90" fmla="*/ 1286161 h 2095880"/>
              <a:gd name="connsiteX91" fmla="*/ 2729103 w 7750397"/>
              <a:gd name="connsiteY91" fmla="*/ 1452182 h 2095880"/>
              <a:gd name="connsiteX92" fmla="*/ 2611660 w 7750397"/>
              <a:gd name="connsiteY92" fmla="*/ 1614202 h 2095880"/>
              <a:gd name="connsiteX93" fmla="*/ 3458623 w 7750397"/>
              <a:gd name="connsiteY93" fmla="*/ 1066324 h 2095880"/>
              <a:gd name="connsiteX94" fmla="*/ 3053810 w 7750397"/>
              <a:gd name="connsiteY94" fmla="*/ 1449515 h 2095880"/>
              <a:gd name="connsiteX95" fmla="*/ 3458623 w 7750397"/>
              <a:gd name="connsiteY95" fmla="*/ 1834134 h 2095880"/>
              <a:gd name="connsiteX96" fmla="*/ 3863435 w 7750397"/>
              <a:gd name="connsiteY96" fmla="*/ 1449515 h 2095880"/>
              <a:gd name="connsiteX97" fmla="*/ 3458623 w 7750397"/>
              <a:gd name="connsiteY97" fmla="*/ 1066324 h 2095880"/>
              <a:gd name="connsiteX98" fmla="*/ 3458623 w 7750397"/>
              <a:gd name="connsiteY98" fmla="*/ 1635728 h 2095880"/>
              <a:gd name="connsiteX99" fmla="*/ 3341180 w 7750397"/>
              <a:gd name="connsiteY99" fmla="*/ 1449515 h 2095880"/>
              <a:gd name="connsiteX100" fmla="*/ 3458623 w 7750397"/>
              <a:gd name="connsiteY100" fmla="*/ 1264634 h 2095880"/>
              <a:gd name="connsiteX101" fmla="*/ 3577400 w 7750397"/>
              <a:gd name="connsiteY101" fmla="*/ 1449515 h 2095880"/>
              <a:gd name="connsiteX102" fmla="*/ 3458623 w 7750397"/>
              <a:gd name="connsiteY102" fmla="*/ 1635728 h 2095880"/>
              <a:gd name="connsiteX103" fmla="*/ 4805744 w 7750397"/>
              <a:gd name="connsiteY103" fmla="*/ 1091851 h 2095880"/>
              <a:gd name="connsiteX104" fmla="*/ 4699159 w 7750397"/>
              <a:gd name="connsiteY104" fmla="*/ 1529143 h 2095880"/>
              <a:gd name="connsiteX105" fmla="*/ 4588478 w 7750397"/>
              <a:gd name="connsiteY105" fmla="*/ 1091851 h 2095880"/>
              <a:gd name="connsiteX106" fmla="*/ 4348258 w 7750397"/>
              <a:gd name="connsiteY106" fmla="*/ 1091851 h 2095880"/>
              <a:gd name="connsiteX107" fmla="*/ 4237578 w 7750397"/>
              <a:gd name="connsiteY107" fmla="*/ 1529143 h 2095880"/>
              <a:gd name="connsiteX108" fmla="*/ 4130898 w 7750397"/>
              <a:gd name="connsiteY108" fmla="*/ 1091851 h 2095880"/>
              <a:gd name="connsiteX109" fmla="*/ 3848862 w 7750397"/>
              <a:gd name="connsiteY109" fmla="*/ 1091851 h 2095880"/>
              <a:gd name="connsiteX110" fmla="*/ 4085082 w 7750397"/>
              <a:gd name="connsiteY110" fmla="*/ 1808512 h 2095880"/>
              <a:gd name="connsiteX111" fmla="*/ 4364356 w 7750397"/>
              <a:gd name="connsiteY111" fmla="*/ 1808512 h 2095880"/>
              <a:gd name="connsiteX112" fmla="*/ 4468368 w 7750397"/>
              <a:gd name="connsiteY112" fmla="*/ 1394174 h 2095880"/>
              <a:gd name="connsiteX113" fmla="*/ 4572191 w 7750397"/>
              <a:gd name="connsiteY113" fmla="*/ 1808512 h 2095880"/>
              <a:gd name="connsiteX114" fmla="*/ 4851559 w 7750397"/>
              <a:gd name="connsiteY114" fmla="*/ 1808512 h 2095880"/>
              <a:gd name="connsiteX115" fmla="*/ 5076825 w 7750397"/>
              <a:gd name="connsiteY115" fmla="*/ 1091851 h 2095880"/>
              <a:gd name="connsiteX116" fmla="*/ 4805648 w 7750397"/>
              <a:gd name="connsiteY116" fmla="*/ 1091851 h 2095880"/>
              <a:gd name="connsiteX117" fmla="*/ 5476018 w 7750397"/>
              <a:gd name="connsiteY117" fmla="*/ 1066229 h 2095880"/>
              <a:gd name="connsiteX118" fmla="*/ 5064443 w 7750397"/>
              <a:gd name="connsiteY118" fmla="*/ 1456182 h 2095880"/>
              <a:gd name="connsiteX119" fmla="*/ 5465159 w 7750397"/>
              <a:gd name="connsiteY119" fmla="*/ 1834039 h 2095880"/>
              <a:gd name="connsiteX120" fmla="*/ 5860542 w 7750397"/>
              <a:gd name="connsiteY120" fmla="*/ 1596581 h 2095880"/>
              <a:gd name="connsiteX121" fmla="*/ 5587937 w 7750397"/>
              <a:gd name="connsiteY121" fmla="*/ 1596581 h 2095880"/>
              <a:gd name="connsiteX122" fmla="*/ 5481257 w 7750397"/>
              <a:gd name="connsiteY122" fmla="*/ 1656017 h 2095880"/>
              <a:gd name="connsiteX123" fmla="*/ 5349049 w 7750397"/>
              <a:gd name="connsiteY123" fmla="*/ 1512951 h 2095880"/>
              <a:gd name="connsiteX124" fmla="*/ 5883402 w 7750397"/>
              <a:gd name="connsiteY124" fmla="*/ 1512951 h 2095880"/>
              <a:gd name="connsiteX125" fmla="*/ 5883402 w 7750397"/>
              <a:gd name="connsiteY125" fmla="*/ 1495425 h 2095880"/>
              <a:gd name="connsiteX126" fmla="*/ 5475828 w 7750397"/>
              <a:gd name="connsiteY126" fmla="*/ 1066324 h 2095880"/>
              <a:gd name="connsiteX127" fmla="*/ 5349240 w 7750397"/>
              <a:gd name="connsiteY127" fmla="*/ 1369790 h 2095880"/>
              <a:gd name="connsiteX128" fmla="*/ 5473351 w 7750397"/>
              <a:gd name="connsiteY128" fmla="*/ 1236155 h 2095880"/>
              <a:gd name="connsiteX129" fmla="*/ 5602891 w 7750397"/>
              <a:gd name="connsiteY129" fmla="*/ 1369790 h 2095880"/>
              <a:gd name="connsiteX130" fmla="*/ 5349240 w 7750397"/>
              <a:gd name="connsiteY130" fmla="*/ 1369790 h 2095880"/>
              <a:gd name="connsiteX131" fmla="*/ 6443377 w 7750397"/>
              <a:gd name="connsiteY131" fmla="*/ 1072896 h 2095880"/>
              <a:gd name="connsiteX132" fmla="*/ 6220682 w 7750397"/>
              <a:gd name="connsiteY132" fmla="*/ 1222724 h 2095880"/>
              <a:gd name="connsiteX133" fmla="*/ 6220682 w 7750397"/>
              <a:gd name="connsiteY133" fmla="*/ 1091756 h 2095880"/>
              <a:gd name="connsiteX134" fmla="*/ 5957507 w 7750397"/>
              <a:gd name="connsiteY134" fmla="*/ 1091756 h 2095880"/>
              <a:gd name="connsiteX135" fmla="*/ 5957507 w 7750397"/>
              <a:gd name="connsiteY135" fmla="*/ 1808417 h 2095880"/>
              <a:gd name="connsiteX136" fmla="*/ 6243543 w 7750397"/>
              <a:gd name="connsiteY136" fmla="*/ 1808417 h 2095880"/>
              <a:gd name="connsiteX137" fmla="*/ 6243543 w 7750397"/>
              <a:gd name="connsiteY137" fmla="*/ 1514285 h 2095880"/>
              <a:gd name="connsiteX138" fmla="*/ 6410897 w 7750397"/>
              <a:gd name="connsiteY138" fmla="*/ 1353598 h 2095880"/>
              <a:gd name="connsiteX139" fmla="*/ 6468999 w 7750397"/>
              <a:gd name="connsiteY139" fmla="*/ 1357693 h 2095880"/>
              <a:gd name="connsiteX140" fmla="*/ 6468999 w 7750397"/>
              <a:gd name="connsiteY140" fmla="*/ 1072896 h 2095880"/>
              <a:gd name="connsiteX141" fmla="*/ 6443377 w 7750397"/>
              <a:gd name="connsiteY141" fmla="*/ 1072896 h 209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7750397" h="2095880">
                <a:moveTo>
                  <a:pt x="6897053" y="282131"/>
                </a:moveTo>
                <a:lnTo>
                  <a:pt x="6921151" y="306229"/>
                </a:lnTo>
                <a:lnTo>
                  <a:pt x="6921151" y="709708"/>
                </a:lnTo>
                <a:lnTo>
                  <a:pt x="6897053" y="733806"/>
                </a:lnTo>
                <a:lnTo>
                  <a:pt x="6493574" y="733806"/>
                </a:lnTo>
                <a:lnTo>
                  <a:pt x="6469475" y="709708"/>
                </a:lnTo>
                <a:lnTo>
                  <a:pt x="6469475" y="306229"/>
                </a:lnTo>
                <a:lnTo>
                  <a:pt x="6493574" y="282131"/>
                </a:lnTo>
                <a:lnTo>
                  <a:pt x="6897053" y="282131"/>
                </a:lnTo>
                <a:close/>
                <a:moveTo>
                  <a:pt x="7040594" y="829342"/>
                </a:moveTo>
                <a:lnTo>
                  <a:pt x="7016497" y="853345"/>
                </a:lnTo>
                <a:lnTo>
                  <a:pt x="7016497" y="1256919"/>
                </a:lnTo>
                <a:lnTo>
                  <a:pt x="7040594" y="1281017"/>
                </a:lnTo>
                <a:lnTo>
                  <a:pt x="7444073" y="1281017"/>
                </a:lnTo>
                <a:lnTo>
                  <a:pt x="7468077" y="1256919"/>
                </a:lnTo>
                <a:lnTo>
                  <a:pt x="7468077" y="853345"/>
                </a:lnTo>
                <a:lnTo>
                  <a:pt x="7444073" y="829342"/>
                </a:lnTo>
                <a:lnTo>
                  <a:pt x="7040594" y="829342"/>
                </a:lnTo>
                <a:close/>
                <a:moveTo>
                  <a:pt x="7750398" y="366998"/>
                </a:moveTo>
                <a:lnTo>
                  <a:pt x="7383304" y="0"/>
                </a:lnTo>
                <a:lnTo>
                  <a:pt x="7040309" y="0"/>
                </a:lnTo>
                <a:lnTo>
                  <a:pt x="7016211" y="24098"/>
                </a:lnTo>
                <a:lnTo>
                  <a:pt x="7016401" y="709708"/>
                </a:lnTo>
                <a:lnTo>
                  <a:pt x="7040499" y="733806"/>
                </a:lnTo>
                <a:lnTo>
                  <a:pt x="7726299" y="733806"/>
                </a:lnTo>
                <a:lnTo>
                  <a:pt x="7750398" y="709708"/>
                </a:lnTo>
                <a:lnTo>
                  <a:pt x="7750398" y="366998"/>
                </a:lnTo>
                <a:close/>
                <a:moveTo>
                  <a:pt x="6719602" y="829437"/>
                </a:moveTo>
                <a:lnTo>
                  <a:pt x="6695599" y="853440"/>
                </a:lnTo>
                <a:lnTo>
                  <a:pt x="6695599" y="1031177"/>
                </a:lnTo>
                <a:lnTo>
                  <a:pt x="6719602" y="1055275"/>
                </a:lnTo>
                <a:lnTo>
                  <a:pt x="6896957" y="1055275"/>
                </a:lnTo>
                <a:lnTo>
                  <a:pt x="6921056" y="1031272"/>
                </a:lnTo>
                <a:lnTo>
                  <a:pt x="6921056" y="853440"/>
                </a:lnTo>
                <a:lnTo>
                  <a:pt x="6896957" y="829437"/>
                </a:lnTo>
                <a:lnTo>
                  <a:pt x="6719602" y="829437"/>
                </a:lnTo>
                <a:close/>
                <a:moveTo>
                  <a:pt x="1851660" y="1069181"/>
                </a:moveTo>
                <a:cubicBezTo>
                  <a:pt x="1800035" y="1069181"/>
                  <a:pt x="1753648" y="1079373"/>
                  <a:pt x="1712595" y="1099566"/>
                </a:cubicBezTo>
                <a:cubicBezTo>
                  <a:pt x="1671447" y="1119854"/>
                  <a:pt x="1633633" y="1151573"/>
                  <a:pt x="1599057" y="1194721"/>
                </a:cubicBezTo>
                <a:cubicBezTo>
                  <a:pt x="1572387" y="1151573"/>
                  <a:pt x="1542098" y="1120045"/>
                  <a:pt x="1508189" y="1100233"/>
                </a:cubicBezTo>
                <a:cubicBezTo>
                  <a:pt x="1474280" y="1080421"/>
                  <a:pt x="1433893" y="1070515"/>
                  <a:pt x="1387126" y="1070515"/>
                </a:cubicBezTo>
                <a:cubicBezTo>
                  <a:pt x="1335977" y="1070515"/>
                  <a:pt x="1290638" y="1080611"/>
                  <a:pt x="1251299" y="1100900"/>
                </a:cubicBezTo>
                <a:cubicBezTo>
                  <a:pt x="1211961" y="1121188"/>
                  <a:pt x="1176528" y="1152430"/>
                  <a:pt x="1145000" y="1194816"/>
                </a:cubicBezTo>
                <a:lnTo>
                  <a:pt x="1145000" y="1089755"/>
                </a:lnTo>
                <a:lnTo>
                  <a:pt x="887159" y="1089755"/>
                </a:lnTo>
                <a:lnTo>
                  <a:pt x="887159" y="1808512"/>
                </a:lnTo>
                <a:lnTo>
                  <a:pt x="1166717" y="1808512"/>
                </a:lnTo>
                <a:lnTo>
                  <a:pt x="1166717" y="1422368"/>
                </a:lnTo>
                <a:cubicBezTo>
                  <a:pt x="1166717" y="1380935"/>
                  <a:pt x="1174909" y="1349407"/>
                  <a:pt x="1191292" y="1327785"/>
                </a:cubicBezTo>
                <a:cubicBezTo>
                  <a:pt x="1207675" y="1306163"/>
                  <a:pt x="1231678" y="1295400"/>
                  <a:pt x="1263110" y="1295400"/>
                </a:cubicBezTo>
                <a:cubicBezTo>
                  <a:pt x="1298543" y="1295400"/>
                  <a:pt x="1323975" y="1306068"/>
                  <a:pt x="1339501" y="1327499"/>
                </a:cubicBezTo>
                <a:cubicBezTo>
                  <a:pt x="1355027" y="1348931"/>
                  <a:pt x="1362837" y="1384268"/>
                  <a:pt x="1362837" y="1433608"/>
                </a:cubicBezTo>
                <a:lnTo>
                  <a:pt x="1362837" y="1808512"/>
                </a:lnTo>
                <a:lnTo>
                  <a:pt x="1641062" y="1808512"/>
                </a:lnTo>
                <a:lnTo>
                  <a:pt x="1641062" y="1426369"/>
                </a:lnTo>
                <a:cubicBezTo>
                  <a:pt x="1641062" y="1381411"/>
                  <a:pt x="1649159" y="1348359"/>
                  <a:pt x="1665351" y="1327214"/>
                </a:cubicBezTo>
                <a:cubicBezTo>
                  <a:pt x="1681543" y="1306068"/>
                  <a:pt x="1706880" y="1295400"/>
                  <a:pt x="1741456" y="1295400"/>
                </a:cubicBezTo>
                <a:cubicBezTo>
                  <a:pt x="1776032" y="1295400"/>
                  <a:pt x="1799558" y="1305592"/>
                  <a:pt x="1814608" y="1325880"/>
                </a:cubicBezTo>
                <a:cubicBezTo>
                  <a:pt x="1829657" y="1346168"/>
                  <a:pt x="1837277" y="1378744"/>
                  <a:pt x="1837277" y="1423702"/>
                </a:cubicBezTo>
                <a:lnTo>
                  <a:pt x="1837277" y="1808512"/>
                </a:lnTo>
                <a:lnTo>
                  <a:pt x="2116741" y="1808512"/>
                </a:lnTo>
                <a:lnTo>
                  <a:pt x="2116741" y="1318546"/>
                </a:lnTo>
                <a:cubicBezTo>
                  <a:pt x="2116741" y="1239679"/>
                  <a:pt x="2093595" y="1178338"/>
                  <a:pt x="2047208" y="1134713"/>
                </a:cubicBezTo>
                <a:cubicBezTo>
                  <a:pt x="2000822" y="1091089"/>
                  <a:pt x="1935670" y="1069277"/>
                  <a:pt x="1851660" y="1069277"/>
                </a:cubicBezTo>
                <a:close/>
                <a:moveTo>
                  <a:pt x="411575" y="1066324"/>
                </a:moveTo>
                <a:cubicBezTo>
                  <a:pt x="156591" y="1066324"/>
                  <a:pt x="0" y="1216057"/>
                  <a:pt x="0" y="1456277"/>
                </a:cubicBezTo>
                <a:cubicBezTo>
                  <a:pt x="0" y="1696498"/>
                  <a:pt x="152495" y="1834134"/>
                  <a:pt x="400717" y="1834134"/>
                </a:cubicBezTo>
                <a:cubicBezTo>
                  <a:pt x="622078" y="1834134"/>
                  <a:pt x="757047" y="1751838"/>
                  <a:pt x="796100" y="1596676"/>
                </a:cubicBezTo>
                <a:lnTo>
                  <a:pt x="523494" y="1596676"/>
                </a:lnTo>
                <a:cubicBezTo>
                  <a:pt x="509968" y="1634490"/>
                  <a:pt x="472250" y="1656112"/>
                  <a:pt x="416814" y="1656112"/>
                </a:cubicBezTo>
                <a:cubicBezTo>
                  <a:pt x="334518" y="1656112"/>
                  <a:pt x="287274" y="1604867"/>
                  <a:pt x="284607" y="1513046"/>
                </a:cubicBezTo>
                <a:lnTo>
                  <a:pt x="818959" y="1513046"/>
                </a:lnTo>
                <a:lnTo>
                  <a:pt x="818959" y="1495520"/>
                </a:lnTo>
                <a:cubicBezTo>
                  <a:pt x="818959" y="1225582"/>
                  <a:pt x="665131" y="1066419"/>
                  <a:pt x="411385" y="1066419"/>
                </a:cubicBezTo>
                <a:close/>
                <a:moveTo>
                  <a:pt x="284797" y="1369885"/>
                </a:moveTo>
                <a:cubicBezTo>
                  <a:pt x="288703" y="1284923"/>
                  <a:pt x="334709" y="1236250"/>
                  <a:pt x="408908" y="1236250"/>
                </a:cubicBezTo>
                <a:cubicBezTo>
                  <a:pt x="489871" y="1236250"/>
                  <a:pt x="533019" y="1280827"/>
                  <a:pt x="538448" y="1369885"/>
                </a:cubicBezTo>
                <a:lnTo>
                  <a:pt x="284797" y="1369885"/>
                </a:lnTo>
                <a:close/>
                <a:moveTo>
                  <a:pt x="2702052" y="1072991"/>
                </a:moveTo>
                <a:cubicBezTo>
                  <a:pt x="2599563" y="1072991"/>
                  <a:pt x="2526697" y="1106710"/>
                  <a:pt x="2470023" y="1183672"/>
                </a:cubicBezTo>
                <a:lnTo>
                  <a:pt x="2470023" y="1091851"/>
                </a:lnTo>
                <a:lnTo>
                  <a:pt x="2217706" y="1091851"/>
                </a:lnTo>
                <a:lnTo>
                  <a:pt x="2217706" y="2095881"/>
                </a:lnTo>
                <a:lnTo>
                  <a:pt x="2494312" y="2095881"/>
                </a:lnTo>
                <a:lnTo>
                  <a:pt x="2494312" y="1740980"/>
                </a:lnTo>
                <a:cubicBezTo>
                  <a:pt x="2544223" y="1804416"/>
                  <a:pt x="2608993" y="1832705"/>
                  <a:pt x="2696718" y="1832705"/>
                </a:cubicBezTo>
                <a:cubicBezTo>
                  <a:pt x="2888361" y="1832705"/>
                  <a:pt x="3013901" y="1685544"/>
                  <a:pt x="3013901" y="1452182"/>
                </a:cubicBezTo>
                <a:cubicBezTo>
                  <a:pt x="3013901" y="1218819"/>
                  <a:pt x="2884361" y="1072991"/>
                  <a:pt x="2702147" y="1072991"/>
                </a:cubicBezTo>
                <a:close/>
                <a:moveTo>
                  <a:pt x="2611660" y="1614202"/>
                </a:moveTo>
                <a:cubicBezTo>
                  <a:pt x="2533460" y="1614202"/>
                  <a:pt x="2494312" y="1560195"/>
                  <a:pt x="2494312" y="1452182"/>
                </a:cubicBezTo>
                <a:cubicBezTo>
                  <a:pt x="2494312" y="1338834"/>
                  <a:pt x="2529364" y="1286161"/>
                  <a:pt x="2614422" y="1286161"/>
                </a:cubicBezTo>
                <a:cubicBezTo>
                  <a:pt x="2692718" y="1286161"/>
                  <a:pt x="2729103" y="1340168"/>
                  <a:pt x="2729103" y="1452182"/>
                </a:cubicBezTo>
                <a:cubicBezTo>
                  <a:pt x="2729103" y="1564196"/>
                  <a:pt x="2688622" y="1614202"/>
                  <a:pt x="2611660" y="1614202"/>
                </a:cubicBezTo>
                <a:close/>
                <a:moveTo>
                  <a:pt x="3458623" y="1066324"/>
                </a:moveTo>
                <a:cubicBezTo>
                  <a:pt x="3206306" y="1066324"/>
                  <a:pt x="3053810" y="1211961"/>
                  <a:pt x="3053810" y="1449515"/>
                </a:cubicBezTo>
                <a:cubicBezTo>
                  <a:pt x="3053810" y="1687068"/>
                  <a:pt x="3206306" y="1834134"/>
                  <a:pt x="3458623" y="1834134"/>
                </a:cubicBezTo>
                <a:cubicBezTo>
                  <a:pt x="3710940" y="1834134"/>
                  <a:pt x="3863435" y="1687068"/>
                  <a:pt x="3863435" y="1449515"/>
                </a:cubicBezTo>
                <a:cubicBezTo>
                  <a:pt x="3863435" y="1211961"/>
                  <a:pt x="3710940" y="1066324"/>
                  <a:pt x="3458623" y="1066324"/>
                </a:cubicBezTo>
                <a:close/>
                <a:moveTo>
                  <a:pt x="3458623" y="1635728"/>
                </a:moveTo>
                <a:cubicBezTo>
                  <a:pt x="3372231" y="1635728"/>
                  <a:pt x="3341180" y="1576388"/>
                  <a:pt x="3341180" y="1449515"/>
                </a:cubicBezTo>
                <a:cubicBezTo>
                  <a:pt x="3341180" y="1322642"/>
                  <a:pt x="3372231" y="1264634"/>
                  <a:pt x="3458623" y="1264634"/>
                </a:cubicBezTo>
                <a:cubicBezTo>
                  <a:pt x="3545015" y="1264634"/>
                  <a:pt x="3577400" y="1322737"/>
                  <a:pt x="3577400" y="1449515"/>
                </a:cubicBezTo>
                <a:cubicBezTo>
                  <a:pt x="3577400" y="1576292"/>
                  <a:pt x="3545015" y="1635728"/>
                  <a:pt x="3458623" y="1635728"/>
                </a:cubicBezTo>
                <a:close/>
                <a:moveTo>
                  <a:pt x="4805744" y="1091851"/>
                </a:moveTo>
                <a:lnTo>
                  <a:pt x="4699159" y="1529143"/>
                </a:lnTo>
                <a:lnTo>
                  <a:pt x="4588478" y="1091851"/>
                </a:lnTo>
                <a:lnTo>
                  <a:pt x="4348258" y="1091851"/>
                </a:lnTo>
                <a:lnTo>
                  <a:pt x="4237578" y="1529143"/>
                </a:lnTo>
                <a:lnTo>
                  <a:pt x="4130898" y="1091851"/>
                </a:lnTo>
                <a:lnTo>
                  <a:pt x="3848862" y="1091851"/>
                </a:lnTo>
                <a:lnTo>
                  <a:pt x="4085082" y="1808512"/>
                </a:lnTo>
                <a:lnTo>
                  <a:pt x="4364356" y="1808512"/>
                </a:lnTo>
                <a:lnTo>
                  <a:pt x="4468368" y="1394174"/>
                </a:lnTo>
                <a:lnTo>
                  <a:pt x="4572191" y="1808512"/>
                </a:lnTo>
                <a:lnTo>
                  <a:pt x="4851559" y="1808512"/>
                </a:lnTo>
                <a:lnTo>
                  <a:pt x="5076825" y="1091851"/>
                </a:lnTo>
                <a:lnTo>
                  <a:pt x="4805648" y="1091851"/>
                </a:lnTo>
                <a:close/>
                <a:moveTo>
                  <a:pt x="5476018" y="1066229"/>
                </a:moveTo>
                <a:cubicBezTo>
                  <a:pt x="5221034" y="1066229"/>
                  <a:pt x="5064443" y="1215962"/>
                  <a:pt x="5064443" y="1456182"/>
                </a:cubicBezTo>
                <a:cubicBezTo>
                  <a:pt x="5064443" y="1696402"/>
                  <a:pt x="5216938" y="1834039"/>
                  <a:pt x="5465159" y="1834039"/>
                </a:cubicBezTo>
                <a:cubicBezTo>
                  <a:pt x="5686521" y="1834039"/>
                  <a:pt x="5821490" y="1751743"/>
                  <a:pt x="5860542" y="1596581"/>
                </a:cubicBezTo>
                <a:lnTo>
                  <a:pt x="5587937" y="1596581"/>
                </a:lnTo>
                <a:cubicBezTo>
                  <a:pt x="5574411" y="1634395"/>
                  <a:pt x="5536597" y="1656017"/>
                  <a:pt x="5481257" y="1656017"/>
                </a:cubicBezTo>
                <a:cubicBezTo>
                  <a:pt x="5398961" y="1656017"/>
                  <a:pt x="5351717" y="1604772"/>
                  <a:pt x="5349049" y="1512951"/>
                </a:cubicBezTo>
                <a:lnTo>
                  <a:pt x="5883402" y="1512951"/>
                </a:lnTo>
                <a:lnTo>
                  <a:pt x="5883402" y="1495425"/>
                </a:lnTo>
                <a:cubicBezTo>
                  <a:pt x="5883402" y="1225487"/>
                  <a:pt x="5729573" y="1066324"/>
                  <a:pt x="5475828" y="1066324"/>
                </a:cubicBezTo>
                <a:close/>
                <a:moveTo>
                  <a:pt x="5349240" y="1369790"/>
                </a:moveTo>
                <a:cubicBezTo>
                  <a:pt x="5353146" y="1284827"/>
                  <a:pt x="5399151" y="1236155"/>
                  <a:pt x="5473351" y="1236155"/>
                </a:cubicBezTo>
                <a:cubicBezTo>
                  <a:pt x="5554314" y="1236155"/>
                  <a:pt x="5597462" y="1280732"/>
                  <a:pt x="5602891" y="1369790"/>
                </a:cubicBezTo>
                <a:lnTo>
                  <a:pt x="5349240" y="1369790"/>
                </a:lnTo>
                <a:close/>
                <a:moveTo>
                  <a:pt x="6443377" y="1072896"/>
                </a:moveTo>
                <a:cubicBezTo>
                  <a:pt x="6327267" y="1072896"/>
                  <a:pt x="6258497" y="1117378"/>
                  <a:pt x="6220682" y="1222724"/>
                </a:cubicBezTo>
                <a:lnTo>
                  <a:pt x="6220682" y="1091756"/>
                </a:lnTo>
                <a:lnTo>
                  <a:pt x="5957507" y="1091756"/>
                </a:lnTo>
                <a:lnTo>
                  <a:pt x="5957507" y="1808417"/>
                </a:lnTo>
                <a:lnTo>
                  <a:pt x="6243543" y="1808417"/>
                </a:lnTo>
                <a:lnTo>
                  <a:pt x="6243543" y="1514285"/>
                </a:lnTo>
                <a:cubicBezTo>
                  <a:pt x="6243543" y="1403604"/>
                  <a:pt x="6296216" y="1353598"/>
                  <a:pt x="6410897" y="1353598"/>
                </a:cubicBezTo>
                <a:cubicBezTo>
                  <a:pt x="6428423" y="1353598"/>
                  <a:pt x="6447378" y="1355027"/>
                  <a:pt x="6468999" y="1357693"/>
                </a:cubicBezTo>
                <a:lnTo>
                  <a:pt x="6468999" y="1072896"/>
                </a:lnTo>
                <a:lnTo>
                  <a:pt x="6443377" y="1072896"/>
                </a:lnTo>
                <a:close/>
              </a:path>
            </a:pathLst>
          </a:custGeom>
          <a:solidFill>
            <a:schemeClr val="tx1"/>
          </a:solidFill>
          <a:ln w="9525" cap="flat">
            <a:noFill/>
            <a:prstDash val="solid"/>
            <a:miter/>
          </a:ln>
        </p:spPr>
        <p:txBody>
          <a:bodyPr rtlCol="0" anchor="ctr"/>
          <a:lstStyle/>
          <a:p>
            <a:endParaRPr lang="en-US"/>
          </a:p>
        </p:txBody>
      </p:sp>
      <p:sp>
        <p:nvSpPr>
          <p:cNvPr id="6" name="Subtitle">
            <a:extLst>
              <a:ext uri="{FF2B5EF4-FFF2-40B4-BE49-F238E27FC236}">
                <a16:creationId xmlns:a16="http://schemas.microsoft.com/office/drawing/2014/main" id="{BCE12DA5-FA0F-2599-53F7-72C054F2FC34}"/>
              </a:ext>
            </a:extLst>
          </p:cNvPr>
          <p:cNvSpPr>
            <a:spLocks noGrp="1"/>
          </p:cNvSpPr>
          <p:nvPr>
            <p:ph type="subTitle" idx="1" hasCustomPrompt="1"/>
          </p:nvPr>
        </p:nvSpPr>
        <p:spPr>
          <a:xfrm>
            <a:off x="550800" y="3061072"/>
            <a:ext cx="3454400" cy="1016000"/>
          </a:xfrm>
          <a:prstGeom prst="rect">
            <a:avLst/>
          </a:prstGeom>
        </p:spPr>
        <p:txBody>
          <a:bodyPr anchor="t"/>
          <a:lstStyle>
            <a:lvl1pPr marL="0" indent="0" algn="l" defTabSz="203200" rtl="0" eaLnBrk="1" latinLnBrk="0" hangingPunct="1">
              <a:lnSpc>
                <a:spcPct val="90000"/>
              </a:lnSpc>
              <a:spcBef>
                <a:spcPct val="0"/>
              </a:spcBef>
              <a:spcAft>
                <a:spcPts val="600"/>
              </a:spcAft>
              <a:buFontTx/>
              <a:buNone/>
              <a:defRPr lang="en-US" sz="2400" kern="1200" baseline="0">
                <a:solidFill>
                  <a:schemeClr val="tx1"/>
                </a:solidFill>
                <a:latin typeface="+mn-lt"/>
                <a:ea typeface="+mn-ea"/>
                <a:cs typeface="+mn-cs"/>
              </a:defRPr>
            </a:lvl1pPr>
            <a:lvl2pPr marL="0" indent="0" algn="l">
              <a:lnSpc>
                <a:spcPct val="100000"/>
              </a:lnSpc>
              <a:spcBef>
                <a:spcPct val="0"/>
              </a:spcBef>
              <a:buNone/>
              <a:defRPr sz="14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a:t>
            </a:r>
            <a:br>
              <a:rPr lang="en-US"/>
            </a:br>
            <a:r>
              <a:rPr lang="en-US"/>
              <a:t>subtitle style</a:t>
            </a:r>
          </a:p>
        </p:txBody>
      </p:sp>
      <p:sp>
        <p:nvSpPr>
          <p:cNvPr id="13" name="Title">
            <a:extLst>
              <a:ext uri="{FF2B5EF4-FFF2-40B4-BE49-F238E27FC236}">
                <a16:creationId xmlns:a16="http://schemas.microsoft.com/office/drawing/2014/main" id="{D5EF7968-483B-45DB-96A0-41EC9F5DD790}"/>
              </a:ext>
            </a:extLst>
          </p:cNvPr>
          <p:cNvSpPr>
            <a:spLocks noGrp="1"/>
          </p:cNvSpPr>
          <p:nvPr>
            <p:ph type="title"/>
          </p:nvPr>
        </p:nvSpPr>
        <p:spPr>
          <a:xfrm>
            <a:off x="550800" y="838824"/>
            <a:ext cx="3454400" cy="2123658"/>
          </a:xfrm>
          <a:custGeom>
            <a:avLst/>
            <a:gdLst>
              <a:gd name="connsiteX0" fmla="*/ 0 w 8164842"/>
              <a:gd name="connsiteY0" fmla="*/ 0 h 1944775"/>
              <a:gd name="connsiteX1" fmla="*/ 8164842 w 8164842"/>
              <a:gd name="connsiteY1" fmla="*/ 0 h 1944775"/>
              <a:gd name="connsiteX2" fmla="*/ 8164842 w 8164842"/>
              <a:gd name="connsiteY2" fmla="*/ 1944775 h 1944775"/>
              <a:gd name="connsiteX3" fmla="*/ 0 w 8164842"/>
              <a:gd name="connsiteY3" fmla="*/ 1944775 h 1944775"/>
            </a:gdLst>
            <a:ahLst/>
            <a:cxnLst>
              <a:cxn ang="0">
                <a:pos x="connsiteX0" y="connsiteY0"/>
              </a:cxn>
              <a:cxn ang="0">
                <a:pos x="connsiteX1" y="connsiteY1"/>
              </a:cxn>
              <a:cxn ang="0">
                <a:pos x="connsiteX2" y="connsiteY2"/>
              </a:cxn>
              <a:cxn ang="0">
                <a:pos x="connsiteX3" y="connsiteY3"/>
              </a:cxn>
            </a:cxnLst>
            <a:rect l="l" t="t" r="r" b="b"/>
            <a:pathLst>
              <a:path w="8164842" h="1944775">
                <a:moveTo>
                  <a:pt x="0" y="0"/>
                </a:moveTo>
                <a:lnTo>
                  <a:pt x="8164842" y="0"/>
                </a:lnTo>
                <a:lnTo>
                  <a:pt x="8164842" y="1944775"/>
                </a:lnTo>
                <a:lnTo>
                  <a:pt x="0" y="1944775"/>
                </a:lnTo>
                <a:close/>
              </a:path>
            </a:pathLst>
          </a:custGeom>
        </p:spPr>
        <p:txBody>
          <a:bodyPr vert="horz" wrap="square" lIns="0" tIns="0" rIns="0" bIns="0" rtlCol="0" anchor="t" anchorCtr="0">
            <a:noAutofit/>
          </a:bodyPr>
          <a:lstStyle>
            <a:lvl1pPr algn="l">
              <a:lnSpc>
                <a:spcPct val="100000"/>
              </a:lnSpc>
              <a:defRPr lang="de-DE" sz="4600" b="0" i="0" spc="0" baseline="0">
                <a:solidFill>
                  <a:schemeClr val="tx1"/>
                </a:solidFill>
                <a:latin typeface="+mj-lt"/>
                <a:cs typeface="Segoe UI Semilight" panose="020B0502040204020203" pitchFamily="34" charset="0"/>
              </a:defRPr>
            </a:lvl1pPr>
          </a:lstStyle>
          <a:p>
            <a:pPr lvl="0"/>
            <a:r>
              <a:rPr lang="en-US" noProof="0"/>
              <a:t>Click to edit Master title style</a:t>
            </a:r>
            <a:endParaRPr lang="de-DE" noProof="0"/>
          </a:p>
        </p:txBody>
      </p:sp>
    </p:spTree>
    <p:extLst>
      <p:ext uri="{BB962C8B-B14F-4D97-AF65-F5344CB8AC3E}">
        <p14:creationId xmlns:p14="http://schemas.microsoft.com/office/powerpoint/2010/main" val="4129874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BC (Mid Blue)">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8ADB95D0-F1C8-516C-6D3E-5C2A67CD6FA3}"/>
              </a:ext>
            </a:extLst>
          </p:cNvPr>
          <p:cNvSpPr>
            <a:spLocks noGrp="1"/>
          </p:cNvSpPr>
          <p:nvPr userDrawn="1">
            <p:ph type="subTitle" idx="1" hasCustomPrompt="1"/>
          </p:nvPr>
        </p:nvSpPr>
        <p:spPr>
          <a:xfrm>
            <a:off x="0" y="838799"/>
            <a:ext cx="3454399" cy="2641600"/>
          </a:xfrm>
          <a:prstGeom prst="rect">
            <a:avLst/>
          </a:prstGeom>
          <a:solidFill>
            <a:schemeClr val="bg1">
              <a:alpha val="80000"/>
            </a:schemeClr>
          </a:solidFill>
        </p:spPr>
        <p:txBody>
          <a:bodyPr vert="horz" lIns="608400" tIns="608400" rIns="152400" bIns="101600" rtlCol="0" anchor="b">
            <a:noAutofit/>
          </a:bodyPr>
          <a:lstStyle>
            <a:lvl1pPr>
              <a:defRPr lang="en-US" sz="17600" b="0" i="0">
                <a:solidFill>
                  <a:schemeClr val="accent3"/>
                </a:solidFill>
                <a:latin typeface="+mj-lt"/>
                <a:ea typeface="+mj-ea"/>
                <a:cs typeface="+mj-cs"/>
              </a:defRPr>
            </a:lvl1pPr>
          </a:lstStyle>
          <a:p>
            <a:pPr lvl="0">
              <a:lnSpc>
                <a:spcPts val="16300"/>
              </a:lnSpc>
            </a:pPr>
            <a:r>
              <a:rPr lang="en-US"/>
              <a:t>##</a:t>
            </a:r>
          </a:p>
        </p:txBody>
      </p:sp>
      <p:sp>
        <p:nvSpPr>
          <p:cNvPr id="7" name="Title">
            <a:extLst>
              <a:ext uri="{FF2B5EF4-FFF2-40B4-BE49-F238E27FC236}">
                <a16:creationId xmlns:a16="http://schemas.microsoft.com/office/drawing/2014/main" id="{4DD6E394-341A-C7EB-4850-A929E45D2FD5}"/>
              </a:ext>
            </a:extLst>
          </p:cNvPr>
          <p:cNvSpPr>
            <a:spLocks noGrp="1"/>
          </p:cNvSpPr>
          <p:nvPr userDrawn="1">
            <p:ph type="title" hasCustomPrompt="1"/>
          </p:nvPr>
        </p:nvSpPr>
        <p:spPr>
          <a:xfrm>
            <a:off x="3454400" y="838799"/>
            <a:ext cx="6120000" cy="2641601"/>
          </a:xfrm>
          <a:custGeom>
            <a:avLst/>
            <a:gdLst>
              <a:gd name="connsiteX0" fmla="*/ 0 w 8164842"/>
              <a:gd name="connsiteY0" fmla="*/ 0 h 1944775"/>
              <a:gd name="connsiteX1" fmla="*/ 8164842 w 8164842"/>
              <a:gd name="connsiteY1" fmla="*/ 0 h 1944775"/>
              <a:gd name="connsiteX2" fmla="*/ 8164842 w 8164842"/>
              <a:gd name="connsiteY2" fmla="*/ 1944775 h 1944775"/>
              <a:gd name="connsiteX3" fmla="*/ 0 w 8164842"/>
              <a:gd name="connsiteY3" fmla="*/ 1944775 h 1944775"/>
            </a:gdLst>
            <a:ahLst/>
            <a:cxnLst>
              <a:cxn ang="0">
                <a:pos x="connsiteX0" y="connsiteY0"/>
              </a:cxn>
              <a:cxn ang="0">
                <a:pos x="connsiteX1" y="connsiteY1"/>
              </a:cxn>
              <a:cxn ang="0">
                <a:pos x="connsiteX2" y="connsiteY2"/>
              </a:cxn>
              <a:cxn ang="0">
                <a:pos x="connsiteX3" y="connsiteY3"/>
              </a:cxn>
            </a:cxnLst>
            <a:rect l="l" t="t" r="r" b="b"/>
            <a:pathLst>
              <a:path w="8164842" h="1944775">
                <a:moveTo>
                  <a:pt x="0" y="0"/>
                </a:moveTo>
                <a:lnTo>
                  <a:pt x="8164842" y="0"/>
                </a:lnTo>
                <a:lnTo>
                  <a:pt x="8164842" y="1944775"/>
                </a:lnTo>
                <a:lnTo>
                  <a:pt x="0" y="1944775"/>
                </a:lnTo>
                <a:close/>
              </a:path>
            </a:pathLst>
          </a:custGeom>
          <a:solidFill>
            <a:srgbClr val="FFFFFF">
              <a:alpha val="80000"/>
            </a:srgbClr>
          </a:solidFill>
        </p:spPr>
        <p:txBody>
          <a:bodyPr vert="horz" wrap="square" lIns="180000" tIns="203200" rIns="609600" bIns="508000" rtlCol="0" anchor="ctr" anchorCtr="0">
            <a:noAutofit/>
          </a:bodyPr>
          <a:lstStyle>
            <a:lvl1pPr>
              <a:defRPr lang="de-DE" noProof="0">
                <a:solidFill>
                  <a:schemeClr val="accent1"/>
                </a:solidFill>
              </a:defRPr>
            </a:lvl1pPr>
          </a:lstStyle>
          <a:p>
            <a:pPr lvl="0"/>
            <a:r>
              <a:rPr lang="en-GB" noProof="0"/>
              <a:t>Click to edit </a:t>
            </a:r>
            <a:br>
              <a:rPr lang="en-GB" noProof="0"/>
            </a:br>
            <a:r>
              <a:rPr lang="en-GB" noProof="0"/>
              <a:t>Master title</a:t>
            </a:r>
            <a:br>
              <a:rPr lang="en-GB" noProof="0"/>
            </a:br>
            <a:r>
              <a:rPr lang="en-GB" noProof="0"/>
              <a:t>style</a:t>
            </a:r>
            <a:endParaRPr lang="de-DE" noProof="0"/>
          </a:p>
        </p:txBody>
      </p:sp>
      <p:sp>
        <p:nvSpPr>
          <p:cNvPr id="2" name="Squiggle">
            <a:extLst>
              <a:ext uri="{FF2B5EF4-FFF2-40B4-BE49-F238E27FC236}">
                <a16:creationId xmlns:a16="http://schemas.microsoft.com/office/drawing/2014/main" id="{DA7DA6EC-09E1-11A5-67EA-0003DB3D8188}"/>
              </a:ext>
            </a:extLst>
          </p:cNvPr>
          <p:cNvSpPr/>
          <p:nvPr userDrawn="1"/>
        </p:nvSpPr>
        <p:spPr>
          <a:xfrm>
            <a:off x="4469108" y="1921894"/>
            <a:ext cx="7722892" cy="4936106"/>
          </a:xfrm>
          <a:custGeom>
            <a:avLst/>
            <a:gdLst>
              <a:gd name="connsiteX0" fmla="*/ 7722892 w 7722892"/>
              <a:gd name="connsiteY0" fmla="*/ 0 h 4936106"/>
              <a:gd name="connsiteX1" fmla="*/ 7722892 w 7722892"/>
              <a:gd name="connsiteY1" fmla="*/ 4936106 h 4936106"/>
              <a:gd name="connsiteX2" fmla="*/ 4028035 w 7722892"/>
              <a:gd name="connsiteY2" fmla="*/ 4936106 h 4936106"/>
              <a:gd name="connsiteX3" fmla="*/ 4213446 w 7722892"/>
              <a:gd name="connsiteY3" fmla="*/ 4745486 h 4936106"/>
              <a:gd name="connsiteX4" fmla="*/ 7696388 w 7722892"/>
              <a:gd name="connsiteY4" fmla="*/ 1189056 h 4936106"/>
              <a:gd name="connsiteX5" fmla="*/ 2431301 w 7722892"/>
              <a:gd name="connsiteY5" fmla="*/ 4862088 h 4936106"/>
              <a:gd name="connsiteX6" fmla="*/ 2343839 w 7722892"/>
              <a:gd name="connsiteY6" fmla="*/ 4936106 h 4936106"/>
              <a:gd name="connsiteX7" fmla="*/ 0 w 7722892"/>
              <a:gd name="connsiteY7" fmla="*/ 4936106 h 4936106"/>
              <a:gd name="connsiteX8" fmla="*/ 527048 w 7722892"/>
              <a:gd name="connsiteY8" fmla="*/ 4550069 h 4936106"/>
              <a:gd name="connsiteX9" fmla="*/ 4050037 w 7722892"/>
              <a:gd name="connsiteY9" fmla="*/ 2135268 h 4936106"/>
              <a:gd name="connsiteX10" fmla="*/ 7225501 w 7722892"/>
              <a:gd name="connsiteY10" fmla="*/ 250346 h 493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22892" h="4936106">
                <a:moveTo>
                  <a:pt x="7722892" y="0"/>
                </a:moveTo>
                <a:lnTo>
                  <a:pt x="7722892" y="4936106"/>
                </a:lnTo>
                <a:lnTo>
                  <a:pt x="4028035" y="4936106"/>
                </a:lnTo>
                <a:lnTo>
                  <a:pt x="4213446" y="4745486"/>
                </a:lnTo>
                <a:cubicBezTo>
                  <a:pt x="5210634" y="3707422"/>
                  <a:pt x="5165016" y="3562023"/>
                  <a:pt x="7696388" y="1189056"/>
                </a:cubicBezTo>
                <a:cubicBezTo>
                  <a:pt x="6288912" y="1580617"/>
                  <a:pt x="3398340" y="4042914"/>
                  <a:pt x="2431301" y="4862088"/>
                </a:cubicBezTo>
                <a:lnTo>
                  <a:pt x="2343839" y="4936106"/>
                </a:lnTo>
                <a:lnTo>
                  <a:pt x="0" y="4936106"/>
                </a:lnTo>
                <a:lnTo>
                  <a:pt x="527048" y="4550069"/>
                </a:lnTo>
                <a:cubicBezTo>
                  <a:pt x="1752272" y="3658893"/>
                  <a:pt x="2835460" y="2916104"/>
                  <a:pt x="4050037" y="2135268"/>
                </a:cubicBezTo>
                <a:cubicBezTo>
                  <a:pt x="5124695" y="1510766"/>
                  <a:pt x="6069990" y="855825"/>
                  <a:pt x="7225501" y="250346"/>
                </a:cubicBezTo>
                <a:close/>
              </a:path>
            </a:pathLst>
          </a:custGeom>
          <a:solidFill>
            <a:schemeClr val="accent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7200" tIns="97200" rIns="97200" bIns="97200" rtlCol="0" anchor="ctr">
            <a:noAutofit/>
          </a:bodyPr>
          <a:lstStyle/>
          <a:p>
            <a:pPr algn="ctr" defTabSz="486000"/>
            <a:endParaRPr lang="en-US" sz="1600">
              <a:solidFill>
                <a:schemeClr val="tx1"/>
              </a:solidFill>
            </a:endParaRPr>
          </a:p>
        </p:txBody>
      </p:sp>
    </p:spTree>
    <p:extLst>
      <p:ext uri="{BB962C8B-B14F-4D97-AF65-F5344CB8AC3E}">
        <p14:creationId xmlns:p14="http://schemas.microsoft.com/office/powerpoint/2010/main" val="3221232227"/>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CC (Orange)">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8ADB95D0-F1C8-516C-6D3E-5C2A67CD6FA3}"/>
              </a:ext>
            </a:extLst>
          </p:cNvPr>
          <p:cNvSpPr>
            <a:spLocks noGrp="1"/>
          </p:cNvSpPr>
          <p:nvPr userDrawn="1">
            <p:ph type="subTitle" idx="1" hasCustomPrompt="1"/>
          </p:nvPr>
        </p:nvSpPr>
        <p:spPr>
          <a:xfrm>
            <a:off x="0" y="838799"/>
            <a:ext cx="3454399" cy="2641600"/>
          </a:xfrm>
          <a:prstGeom prst="rect">
            <a:avLst/>
          </a:prstGeom>
          <a:solidFill>
            <a:schemeClr val="bg1">
              <a:alpha val="80000"/>
            </a:schemeClr>
          </a:solidFill>
        </p:spPr>
        <p:txBody>
          <a:bodyPr vert="horz" lIns="608400" tIns="608400" rIns="152400" bIns="101600" rtlCol="0" anchor="b">
            <a:noAutofit/>
          </a:bodyPr>
          <a:lstStyle>
            <a:lvl1pPr>
              <a:defRPr lang="en-US" sz="17600" b="0" i="0">
                <a:solidFill>
                  <a:schemeClr val="accent4"/>
                </a:solidFill>
                <a:latin typeface="+mj-lt"/>
                <a:ea typeface="+mj-ea"/>
                <a:cs typeface="+mj-cs"/>
              </a:defRPr>
            </a:lvl1pPr>
          </a:lstStyle>
          <a:p>
            <a:pPr lvl="0">
              <a:lnSpc>
                <a:spcPts val="16300"/>
              </a:lnSpc>
            </a:pPr>
            <a:r>
              <a:rPr lang="en-US"/>
              <a:t>##</a:t>
            </a:r>
          </a:p>
        </p:txBody>
      </p:sp>
      <p:sp>
        <p:nvSpPr>
          <p:cNvPr id="7" name="Title">
            <a:extLst>
              <a:ext uri="{FF2B5EF4-FFF2-40B4-BE49-F238E27FC236}">
                <a16:creationId xmlns:a16="http://schemas.microsoft.com/office/drawing/2014/main" id="{4DD6E394-341A-C7EB-4850-A929E45D2FD5}"/>
              </a:ext>
            </a:extLst>
          </p:cNvPr>
          <p:cNvSpPr>
            <a:spLocks noGrp="1"/>
          </p:cNvSpPr>
          <p:nvPr userDrawn="1">
            <p:ph type="title" hasCustomPrompt="1"/>
          </p:nvPr>
        </p:nvSpPr>
        <p:spPr>
          <a:xfrm>
            <a:off x="3454400" y="838799"/>
            <a:ext cx="6120000" cy="2641601"/>
          </a:xfrm>
          <a:custGeom>
            <a:avLst/>
            <a:gdLst>
              <a:gd name="connsiteX0" fmla="*/ 0 w 8164842"/>
              <a:gd name="connsiteY0" fmla="*/ 0 h 1944775"/>
              <a:gd name="connsiteX1" fmla="*/ 8164842 w 8164842"/>
              <a:gd name="connsiteY1" fmla="*/ 0 h 1944775"/>
              <a:gd name="connsiteX2" fmla="*/ 8164842 w 8164842"/>
              <a:gd name="connsiteY2" fmla="*/ 1944775 h 1944775"/>
              <a:gd name="connsiteX3" fmla="*/ 0 w 8164842"/>
              <a:gd name="connsiteY3" fmla="*/ 1944775 h 1944775"/>
            </a:gdLst>
            <a:ahLst/>
            <a:cxnLst>
              <a:cxn ang="0">
                <a:pos x="connsiteX0" y="connsiteY0"/>
              </a:cxn>
              <a:cxn ang="0">
                <a:pos x="connsiteX1" y="connsiteY1"/>
              </a:cxn>
              <a:cxn ang="0">
                <a:pos x="connsiteX2" y="connsiteY2"/>
              </a:cxn>
              <a:cxn ang="0">
                <a:pos x="connsiteX3" y="connsiteY3"/>
              </a:cxn>
            </a:cxnLst>
            <a:rect l="l" t="t" r="r" b="b"/>
            <a:pathLst>
              <a:path w="8164842" h="1944775">
                <a:moveTo>
                  <a:pt x="0" y="0"/>
                </a:moveTo>
                <a:lnTo>
                  <a:pt x="8164842" y="0"/>
                </a:lnTo>
                <a:lnTo>
                  <a:pt x="8164842" y="1944775"/>
                </a:lnTo>
                <a:lnTo>
                  <a:pt x="0" y="1944775"/>
                </a:lnTo>
                <a:close/>
              </a:path>
            </a:pathLst>
          </a:custGeom>
          <a:solidFill>
            <a:srgbClr val="FFFFFF">
              <a:alpha val="80000"/>
            </a:srgbClr>
          </a:solidFill>
        </p:spPr>
        <p:txBody>
          <a:bodyPr vert="horz" wrap="square" lIns="180000" tIns="203200" rIns="609600" bIns="508000" rtlCol="0" anchor="ctr" anchorCtr="0">
            <a:noAutofit/>
          </a:bodyPr>
          <a:lstStyle>
            <a:lvl1pPr>
              <a:defRPr lang="de-DE" noProof="0">
                <a:solidFill>
                  <a:schemeClr val="accent1"/>
                </a:solidFill>
              </a:defRPr>
            </a:lvl1pPr>
          </a:lstStyle>
          <a:p>
            <a:pPr lvl="0"/>
            <a:r>
              <a:rPr lang="en-GB" noProof="0"/>
              <a:t>Click to edit </a:t>
            </a:r>
            <a:br>
              <a:rPr lang="en-GB" noProof="0"/>
            </a:br>
            <a:r>
              <a:rPr lang="en-GB" noProof="0"/>
              <a:t>Master title</a:t>
            </a:r>
            <a:br>
              <a:rPr lang="en-GB" noProof="0"/>
            </a:br>
            <a:r>
              <a:rPr lang="en-GB" noProof="0"/>
              <a:t>style</a:t>
            </a:r>
            <a:endParaRPr lang="de-DE" noProof="0"/>
          </a:p>
        </p:txBody>
      </p:sp>
      <p:sp>
        <p:nvSpPr>
          <p:cNvPr id="2" name="Squiggle">
            <a:extLst>
              <a:ext uri="{FF2B5EF4-FFF2-40B4-BE49-F238E27FC236}">
                <a16:creationId xmlns:a16="http://schemas.microsoft.com/office/drawing/2014/main" id="{DA7DA6EC-09E1-11A5-67EA-0003DB3D8188}"/>
              </a:ext>
            </a:extLst>
          </p:cNvPr>
          <p:cNvSpPr/>
          <p:nvPr userDrawn="1"/>
        </p:nvSpPr>
        <p:spPr>
          <a:xfrm>
            <a:off x="4469108" y="1921894"/>
            <a:ext cx="7722892" cy="4936106"/>
          </a:xfrm>
          <a:custGeom>
            <a:avLst/>
            <a:gdLst>
              <a:gd name="connsiteX0" fmla="*/ 7722892 w 7722892"/>
              <a:gd name="connsiteY0" fmla="*/ 0 h 4936106"/>
              <a:gd name="connsiteX1" fmla="*/ 7722892 w 7722892"/>
              <a:gd name="connsiteY1" fmla="*/ 4936106 h 4936106"/>
              <a:gd name="connsiteX2" fmla="*/ 4028035 w 7722892"/>
              <a:gd name="connsiteY2" fmla="*/ 4936106 h 4936106"/>
              <a:gd name="connsiteX3" fmla="*/ 4213446 w 7722892"/>
              <a:gd name="connsiteY3" fmla="*/ 4745486 h 4936106"/>
              <a:gd name="connsiteX4" fmla="*/ 7696388 w 7722892"/>
              <a:gd name="connsiteY4" fmla="*/ 1189056 h 4936106"/>
              <a:gd name="connsiteX5" fmla="*/ 2431301 w 7722892"/>
              <a:gd name="connsiteY5" fmla="*/ 4862088 h 4936106"/>
              <a:gd name="connsiteX6" fmla="*/ 2343839 w 7722892"/>
              <a:gd name="connsiteY6" fmla="*/ 4936106 h 4936106"/>
              <a:gd name="connsiteX7" fmla="*/ 0 w 7722892"/>
              <a:gd name="connsiteY7" fmla="*/ 4936106 h 4936106"/>
              <a:gd name="connsiteX8" fmla="*/ 527048 w 7722892"/>
              <a:gd name="connsiteY8" fmla="*/ 4550069 h 4936106"/>
              <a:gd name="connsiteX9" fmla="*/ 4050037 w 7722892"/>
              <a:gd name="connsiteY9" fmla="*/ 2135268 h 4936106"/>
              <a:gd name="connsiteX10" fmla="*/ 7225501 w 7722892"/>
              <a:gd name="connsiteY10" fmla="*/ 250346 h 493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22892" h="4936106">
                <a:moveTo>
                  <a:pt x="7722892" y="0"/>
                </a:moveTo>
                <a:lnTo>
                  <a:pt x="7722892" y="4936106"/>
                </a:lnTo>
                <a:lnTo>
                  <a:pt x="4028035" y="4936106"/>
                </a:lnTo>
                <a:lnTo>
                  <a:pt x="4213446" y="4745486"/>
                </a:lnTo>
                <a:cubicBezTo>
                  <a:pt x="5210634" y="3707422"/>
                  <a:pt x="5165016" y="3562023"/>
                  <a:pt x="7696388" y="1189056"/>
                </a:cubicBezTo>
                <a:cubicBezTo>
                  <a:pt x="6288912" y="1580617"/>
                  <a:pt x="3398340" y="4042914"/>
                  <a:pt x="2431301" y="4862088"/>
                </a:cubicBezTo>
                <a:lnTo>
                  <a:pt x="2343839" y="4936106"/>
                </a:lnTo>
                <a:lnTo>
                  <a:pt x="0" y="4936106"/>
                </a:lnTo>
                <a:lnTo>
                  <a:pt x="527048" y="4550069"/>
                </a:lnTo>
                <a:cubicBezTo>
                  <a:pt x="1752272" y="3658893"/>
                  <a:pt x="2835460" y="2916104"/>
                  <a:pt x="4050037" y="2135268"/>
                </a:cubicBezTo>
                <a:cubicBezTo>
                  <a:pt x="5124695" y="1510766"/>
                  <a:pt x="6069990" y="855825"/>
                  <a:pt x="7225501" y="250346"/>
                </a:cubicBezTo>
                <a:close/>
              </a:path>
            </a:pathLst>
          </a:custGeom>
          <a:solidFill>
            <a:schemeClr val="accent4"/>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7200" tIns="97200" rIns="97200" bIns="97200" rtlCol="0" anchor="ctr">
            <a:noAutofit/>
          </a:bodyPr>
          <a:lstStyle/>
          <a:p>
            <a:pPr algn="ctr" defTabSz="486000"/>
            <a:endParaRPr lang="en-US" sz="1600">
              <a:solidFill>
                <a:schemeClr val="tx1"/>
              </a:solidFill>
            </a:endParaRPr>
          </a:p>
        </p:txBody>
      </p:sp>
    </p:spTree>
    <p:extLst>
      <p:ext uri="{BB962C8B-B14F-4D97-AF65-F5344CB8AC3E}">
        <p14:creationId xmlns:p14="http://schemas.microsoft.com/office/powerpoint/2010/main" val="4158063069"/>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CE (Green)">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8ADB95D0-F1C8-516C-6D3E-5C2A67CD6FA3}"/>
              </a:ext>
            </a:extLst>
          </p:cNvPr>
          <p:cNvSpPr>
            <a:spLocks noGrp="1"/>
          </p:cNvSpPr>
          <p:nvPr userDrawn="1">
            <p:ph type="subTitle" idx="1" hasCustomPrompt="1"/>
          </p:nvPr>
        </p:nvSpPr>
        <p:spPr>
          <a:xfrm>
            <a:off x="0" y="838799"/>
            <a:ext cx="3454399" cy="2641600"/>
          </a:xfrm>
          <a:prstGeom prst="rect">
            <a:avLst/>
          </a:prstGeom>
          <a:solidFill>
            <a:schemeClr val="bg1">
              <a:alpha val="80000"/>
            </a:schemeClr>
          </a:solidFill>
        </p:spPr>
        <p:txBody>
          <a:bodyPr vert="horz" lIns="608400" tIns="608400" rIns="152400" bIns="101600" rtlCol="0" anchor="b">
            <a:noAutofit/>
          </a:bodyPr>
          <a:lstStyle>
            <a:lvl1pPr>
              <a:defRPr lang="en-US" sz="17600" b="0" i="0">
                <a:solidFill>
                  <a:schemeClr val="accent6"/>
                </a:solidFill>
                <a:latin typeface="+mj-lt"/>
                <a:ea typeface="+mj-ea"/>
                <a:cs typeface="+mj-cs"/>
              </a:defRPr>
            </a:lvl1pPr>
          </a:lstStyle>
          <a:p>
            <a:pPr lvl="0">
              <a:lnSpc>
                <a:spcPts val="16300"/>
              </a:lnSpc>
            </a:pPr>
            <a:r>
              <a:rPr lang="en-US"/>
              <a:t>##</a:t>
            </a:r>
          </a:p>
        </p:txBody>
      </p:sp>
      <p:sp>
        <p:nvSpPr>
          <p:cNvPr id="7" name="Title">
            <a:extLst>
              <a:ext uri="{FF2B5EF4-FFF2-40B4-BE49-F238E27FC236}">
                <a16:creationId xmlns:a16="http://schemas.microsoft.com/office/drawing/2014/main" id="{4DD6E394-341A-C7EB-4850-A929E45D2FD5}"/>
              </a:ext>
            </a:extLst>
          </p:cNvPr>
          <p:cNvSpPr>
            <a:spLocks noGrp="1"/>
          </p:cNvSpPr>
          <p:nvPr userDrawn="1">
            <p:ph type="title" hasCustomPrompt="1"/>
          </p:nvPr>
        </p:nvSpPr>
        <p:spPr>
          <a:xfrm>
            <a:off x="3454400" y="838799"/>
            <a:ext cx="6120000" cy="2641601"/>
          </a:xfrm>
          <a:custGeom>
            <a:avLst/>
            <a:gdLst>
              <a:gd name="connsiteX0" fmla="*/ 0 w 8164842"/>
              <a:gd name="connsiteY0" fmla="*/ 0 h 1944775"/>
              <a:gd name="connsiteX1" fmla="*/ 8164842 w 8164842"/>
              <a:gd name="connsiteY1" fmla="*/ 0 h 1944775"/>
              <a:gd name="connsiteX2" fmla="*/ 8164842 w 8164842"/>
              <a:gd name="connsiteY2" fmla="*/ 1944775 h 1944775"/>
              <a:gd name="connsiteX3" fmla="*/ 0 w 8164842"/>
              <a:gd name="connsiteY3" fmla="*/ 1944775 h 1944775"/>
            </a:gdLst>
            <a:ahLst/>
            <a:cxnLst>
              <a:cxn ang="0">
                <a:pos x="connsiteX0" y="connsiteY0"/>
              </a:cxn>
              <a:cxn ang="0">
                <a:pos x="connsiteX1" y="connsiteY1"/>
              </a:cxn>
              <a:cxn ang="0">
                <a:pos x="connsiteX2" y="connsiteY2"/>
              </a:cxn>
              <a:cxn ang="0">
                <a:pos x="connsiteX3" y="connsiteY3"/>
              </a:cxn>
            </a:cxnLst>
            <a:rect l="l" t="t" r="r" b="b"/>
            <a:pathLst>
              <a:path w="8164842" h="1944775">
                <a:moveTo>
                  <a:pt x="0" y="0"/>
                </a:moveTo>
                <a:lnTo>
                  <a:pt x="8164842" y="0"/>
                </a:lnTo>
                <a:lnTo>
                  <a:pt x="8164842" y="1944775"/>
                </a:lnTo>
                <a:lnTo>
                  <a:pt x="0" y="1944775"/>
                </a:lnTo>
                <a:close/>
              </a:path>
            </a:pathLst>
          </a:custGeom>
          <a:solidFill>
            <a:srgbClr val="FFFFFF">
              <a:alpha val="80000"/>
            </a:srgbClr>
          </a:solidFill>
        </p:spPr>
        <p:txBody>
          <a:bodyPr vert="horz" wrap="square" lIns="180000" tIns="203200" rIns="609600" bIns="508000" rtlCol="0" anchor="ctr" anchorCtr="0">
            <a:noAutofit/>
          </a:bodyPr>
          <a:lstStyle>
            <a:lvl1pPr>
              <a:defRPr lang="de-DE" noProof="0">
                <a:solidFill>
                  <a:schemeClr val="accent1"/>
                </a:solidFill>
              </a:defRPr>
            </a:lvl1pPr>
          </a:lstStyle>
          <a:p>
            <a:pPr lvl="0"/>
            <a:r>
              <a:rPr lang="en-GB" noProof="0"/>
              <a:t>Click to edit </a:t>
            </a:r>
            <a:br>
              <a:rPr lang="en-GB" noProof="0"/>
            </a:br>
            <a:r>
              <a:rPr lang="en-GB" noProof="0"/>
              <a:t>Master title</a:t>
            </a:r>
            <a:br>
              <a:rPr lang="en-GB" noProof="0"/>
            </a:br>
            <a:r>
              <a:rPr lang="en-GB" noProof="0"/>
              <a:t>style</a:t>
            </a:r>
            <a:endParaRPr lang="de-DE" noProof="0"/>
          </a:p>
        </p:txBody>
      </p:sp>
      <p:sp>
        <p:nvSpPr>
          <p:cNvPr id="2" name="Squiggle">
            <a:extLst>
              <a:ext uri="{FF2B5EF4-FFF2-40B4-BE49-F238E27FC236}">
                <a16:creationId xmlns:a16="http://schemas.microsoft.com/office/drawing/2014/main" id="{DA7DA6EC-09E1-11A5-67EA-0003DB3D8188}"/>
              </a:ext>
            </a:extLst>
          </p:cNvPr>
          <p:cNvSpPr/>
          <p:nvPr userDrawn="1"/>
        </p:nvSpPr>
        <p:spPr>
          <a:xfrm>
            <a:off x="4469108" y="1921894"/>
            <a:ext cx="7722892" cy="4936106"/>
          </a:xfrm>
          <a:custGeom>
            <a:avLst/>
            <a:gdLst>
              <a:gd name="connsiteX0" fmla="*/ 7722892 w 7722892"/>
              <a:gd name="connsiteY0" fmla="*/ 0 h 4936106"/>
              <a:gd name="connsiteX1" fmla="*/ 7722892 w 7722892"/>
              <a:gd name="connsiteY1" fmla="*/ 4936106 h 4936106"/>
              <a:gd name="connsiteX2" fmla="*/ 4028035 w 7722892"/>
              <a:gd name="connsiteY2" fmla="*/ 4936106 h 4936106"/>
              <a:gd name="connsiteX3" fmla="*/ 4213446 w 7722892"/>
              <a:gd name="connsiteY3" fmla="*/ 4745486 h 4936106"/>
              <a:gd name="connsiteX4" fmla="*/ 7696388 w 7722892"/>
              <a:gd name="connsiteY4" fmla="*/ 1189056 h 4936106"/>
              <a:gd name="connsiteX5" fmla="*/ 2431301 w 7722892"/>
              <a:gd name="connsiteY5" fmla="*/ 4862088 h 4936106"/>
              <a:gd name="connsiteX6" fmla="*/ 2343839 w 7722892"/>
              <a:gd name="connsiteY6" fmla="*/ 4936106 h 4936106"/>
              <a:gd name="connsiteX7" fmla="*/ 0 w 7722892"/>
              <a:gd name="connsiteY7" fmla="*/ 4936106 h 4936106"/>
              <a:gd name="connsiteX8" fmla="*/ 527048 w 7722892"/>
              <a:gd name="connsiteY8" fmla="*/ 4550069 h 4936106"/>
              <a:gd name="connsiteX9" fmla="*/ 4050037 w 7722892"/>
              <a:gd name="connsiteY9" fmla="*/ 2135268 h 4936106"/>
              <a:gd name="connsiteX10" fmla="*/ 7225501 w 7722892"/>
              <a:gd name="connsiteY10" fmla="*/ 250346 h 493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22892" h="4936106">
                <a:moveTo>
                  <a:pt x="7722892" y="0"/>
                </a:moveTo>
                <a:lnTo>
                  <a:pt x="7722892" y="4936106"/>
                </a:lnTo>
                <a:lnTo>
                  <a:pt x="4028035" y="4936106"/>
                </a:lnTo>
                <a:lnTo>
                  <a:pt x="4213446" y="4745486"/>
                </a:lnTo>
                <a:cubicBezTo>
                  <a:pt x="5210634" y="3707422"/>
                  <a:pt x="5165016" y="3562023"/>
                  <a:pt x="7696388" y="1189056"/>
                </a:cubicBezTo>
                <a:cubicBezTo>
                  <a:pt x="6288912" y="1580617"/>
                  <a:pt x="3398340" y="4042914"/>
                  <a:pt x="2431301" y="4862088"/>
                </a:cubicBezTo>
                <a:lnTo>
                  <a:pt x="2343839" y="4936106"/>
                </a:lnTo>
                <a:lnTo>
                  <a:pt x="0" y="4936106"/>
                </a:lnTo>
                <a:lnTo>
                  <a:pt x="527048" y="4550069"/>
                </a:lnTo>
                <a:cubicBezTo>
                  <a:pt x="1752272" y="3658893"/>
                  <a:pt x="2835460" y="2916104"/>
                  <a:pt x="4050037" y="2135268"/>
                </a:cubicBezTo>
                <a:cubicBezTo>
                  <a:pt x="5124695" y="1510766"/>
                  <a:pt x="6069990" y="855825"/>
                  <a:pt x="7225501" y="250346"/>
                </a:cubicBezTo>
                <a:close/>
              </a:path>
            </a:pathLst>
          </a:custGeom>
          <a:solidFill>
            <a:schemeClr val="accent6"/>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7200" tIns="97200" rIns="97200" bIns="97200" rtlCol="0" anchor="ctr">
            <a:noAutofit/>
          </a:bodyPr>
          <a:lstStyle/>
          <a:p>
            <a:pPr algn="ctr" defTabSz="486000"/>
            <a:endParaRPr lang="en-US" sz="1600">
              <a:solidFill>
                <a:schemeClr val="tx1"/>
              </a:solidFill>
            </a:endParaRPr>
          </a:p>
        </p:txBody>
      </p:sp>
    </p:spTree>
    <p:extLst>
      <p:ext uri="{BB962C8B-B14F-4D97-AF65-F5344CB8AC3E}">
        <p14:creationId xmlns:p14="http://schemas.microsoft.com/office/powerpoint/2010/main" val="3745260304"/>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DA (LIght Blue)">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8ADB95D0-F1C8-516C-6D3E-5C2A67CD6FA3}"/>
              </a:ext>
            </a:extLst>
          </p:cNvPr>
          <p:cNvSpPr>
            <a:spLocks noGrp="1"/>
          </p:cNvSpPr>
          <p:nvPr userDrawn="1">
            <p:ph type="subTitle" idx="1" hasCustomPrompt="1"/>
          </p:nvPr>
        </p:nvSpPr>
        <p:spPr>
          <a:xfrm>
            <a:off x="0" y="838799"/>
            <a:ext cx="3454399" cy="2641600"/>
          </a:xfrm>
          <a:prstGeom prst="rect">
            <a:avLst/>
          </a:prstGeom>
          <a:solidFill>
            <a:schemeClr val="bg1">
              <a:alpha val="80000"/>
            </a:schemeClr>
          </a:solidFill>
        </p:spPr>
        <p:txBody>
          <a:bodyPr vert="horz" lIns="608400" tIns="608400" rIns="152400" bIns="101600" rtlCol="0" anchor="b">
            <a:noAutofit/>
          </a:bodyPr>
          <a:lstStyle>
            <a:lvl1pPr>
              <a:defRPr lang="en-US" sz="17600" b="0" i="0">
                <a:solidFill>
                  <a:schemeClr val="accent2"/>
                </a:solidFill>
                <a:latin typeface="+mj-lt"/>
                <a:ea typeface="+mj-ea"/>
                <a:cs typeface="+mj-cs"/>
              </a:defRPr>
            </a:lvl1pPr>
          </a:lstStyle>
          <a:p>
            <a:pPr lvl="0">
              <a:lnSpc>
                <a:spcPts val="16300"/>
              </a:lnSpc>
            </a:pPr>
            <a:r>
              <a:rPr lang="en-US"/>
              <a:t>##</a:t>
            </a:r>
          </a:p>
        </p:txBody>
      </p:sp>
      <p:sp>
        <p:nvSpPr>
          <p:cNvPr id="7" name="Title">
            <a:extLst>
              <a:ext uri="{FF2B5EF4-FFF2-40B4-BE49-F238E27FC236}">
                <a16:creationId xmlns:a16="http://schemas.microsoft.com/office/drawing/2014/main" id="{4DD6E394-341A-C7EB-4850-A929E45D2FD5}"/>
              </a:ext>
            </a:extLst>
          </p:cNvPr>
          <p:cNvSpPr>
            <a:spLocks noGrp="1"/>
          </p:cNvSpPr>
          <p:nvPr userDrawn="1">
            <p:ph type="title" hasCustomPrompt="1"/>
          </p:nvPr>
        </p:nvSpPr>
        <p:spPr>
          <a:xfrm>
            <a:off x="3454400" y="838799"/>
            <a:ext cx="6120000" cy="2641601"/>
          </a:xfrm>
          <a:custGeom>
            <a:avLst/>
            <a:gdLst>
              <a:gd name="connsiteX0" fmla="*/ 0 w 8164842"/>
              <a:gd name="connsiteY0" fmla="*/ 0 h 1944775"/>
              <a:gd name="connsiteX1" fmla="*/ 8164842 w 8164842"/>
              <a:gd name="connsiteY1" fmla="*/ 0 h 1944775"/>
              <a:gd name="connsiteX2" fmla="*/ 8164842 w 8164842"/>
              <a:gd name="connsiteY2" fmla="*/ 1944775 h 1944775"/>
              <a:gd name="connsiteX3" fmla="*/ 0 w 8164842"/>
              <a:gd name="connsiteY3" fmla="*/ 1944775 h 1944775"/>
            </a:gdLst>
            <a:ahLst/>
            <a:cxnLst>
              <a:cxn ang="0">
                <a:pos x="connsiteX0" y="connsiteY0"/>
              </a:cxn>
              <a:cxn ang="0">
                <a:pos x="connsiteX1" y="connsiteY1"/>
              </a:cxn>
              <a:cxn ang="0">
                <a:pos x="connsiteX2" y="connsiteY2"/>
              </a:cxn>
              <a:cxn ang="0">
                <a:pos x="connsiteX3" y="connsiteY3"/>
              </a:cxn>
            </a:cxnLst>
            <a:rect l="l" t="t" r="r" b="b"/>
            <a:pathLst>
              <a:path w="8164842" h="1944775">
                <a:moveTo>
                  <a:pt x="0" y="0"/>
                </a:moveTo>
                <a:lnTo>
                  <a:pt x="8164842" y="0"/>
                </a:lnTo>
                <a:lnTo>
                  <a:pt x="8164842" y="1944775"/>
                </a:lnTo>
                <a:lnTo>
                  <a:pt x="0" y="1944775"/>
                </a:lnTo>
                <a:close/>
              </a:path>
            </a:pathLst>
          </a:custGeom>
          <a:solidFill>
            <a:srgbClr val="FFFFFF">
              <a:alpha val="80000"/>
            </a:srgbClr>
          </a:solidFill>
        </p:spPr>
        <p:txBody>
          <a:bodyPr vert="horz" wrap="square" lIns="180000" tIns="203200" rIns="609600" bIns="508000" rtlCol="0" anchor="ctr" anchorCtr="0">
            <a:noAutofit/>
          </a:bodyPr>
          <a:lstStyle>
            <a:lvl1pPr>
              <a:defRPr lang="de-DE" noProof="0">
                <a:solidFill>
                  <a:schemeClr val="accent1"/>
                </a:solidFill>
              </a:defRPr>
            </a:lvl1pPr>
          </a:lstStyle>
          <a:p>
            <a:pPr lvl="0"/>
            <a:r>
              <a:rPr lang="en-GB" noProof="0"/>
              <a:t>Click to edit </a:t>
            </a:r>
            <a:br>
              <a:rPr lang="en-GB" noProof="0"/>
            </a:br>
            <a:r>
              <a:rPr lang="en-GB" noProof="0"/>
              <a:t>Master title</a:t>
            </a:r>
            <a:br>
              <a:rPr lang="en-GB" noProof="0"/>
            </a:br>
            <a:r>
              <a:rPr lang="en-GB" noProof="0"/>
              <a:t>style</a:t>
            </a:r>
            <a:endParaRPr lang="de-DE" noProof="0"/>
          </a:p>
        </p:txBody>
      </p:sp>
      <p:sp>
        <p:nvSpPr>
          <p:cNvPr id="2" name="Squiggle">
            <a:extLst>
              <a:ext uri="{FF2B5EF4-FFF2-40B4-BE49-F238E27FC236}">
                <a16:creationId xmlns:a16="http://schemas.microsoft.com/office/drawing/2014/main" id="{DA7DA6EC-09E1-11A5-67EA-0003DB3D8188}"/>
              </a:ext>
            </a:extLst>
          </p:cNvPr>
          <p:cNvSpPr/>
          <p:nvPr userDrawn="1"/>
        </p:nvSpPr>
        <p:spPr>
          <a:xfrm>
            <a:off x="4469108" y="1921894"/>
            <a:ext cx="7722892" cy="4936106"/>
          </a:xfrm>
          <a:custGeom>
            <a:avLst/>
            <a:gdLst>
              <a:gd name="connsiteX0" fmla="*/ 7722892 w 7722892"/>
              <a:gd name="connsiteY0" fmla="*/ 0 h 4936106"/>
              <a:gd name="connsiteX1" fmla="*/ 7722892 w 7722892"/>
              <a:gd name="connsiteY1" fmla="*/ 4936106 h 4936106"/>
              <a:gd name="connsiteX2" fmla="*/ 4028035 w 7722892"/>
              <a:gd name="connsiteY2" fmla="*/ 4936106 h 4936106"/>
              <a:gd name="connsiteX3" fmla="*/ 4213446 w 7722892"/>
              <a:gd name="connsiteY3" fmla="*/ 4745486 h 4936106"/>
              <a:gd name="connsiteX4" fmla="*/ 7696388 w 7722892"/>
              <a:gd name="connsiteY4" fmla="*/ 1189056 h 4936106"/>
              <a:gd name="connsiteX5" fmla="*/ 2431301 w 7722892"/>
              <a:gd name="connsiteY5" fmla="*/ 4862088 h 4936106"/>
              <a:gd name="connsiteX6" fmla="*/ 2343839 w 7722892"/>
              <a:gd name="connsiteY6" fmla="*/ 4936106 h 4936106"/>
              <a:gd name="connsiteX7" fmla="*/ 0 w 7722892"/>
              <a:gd name="connsiteY7" fmla="*/ 4936106 h 4936106"/>
              <a:gd name="connsiteX8" fmla="*/ 527048 w 7722892"/>
              <a:gd name="connsiteY8" fmla="*/ 4550069 h 4936106"/>
              <a:gd name="connsiteX9" fmla="*/ 4050037 w 7722892"/>
              <a:gd name="connsiteY9" fmla="*/ 2135268 h 4936106"/>
              <a:gd name="connsiteX10" fmla="*/ 7225501 w 7722892"/>
              <a:gd name="connsiteY10" fmla="*/ 250346 h 493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22892" h="4936106">
                <a:moveTo>
                  <a:pt x="7722892" y="0"/>
                </a:moveTo>
                <a:lnTo>
                  <a:pt x="7722892" y="4936106"/>
                </a:lnTo>
                <a:lnTo>
                  <a:pt x="4028035" y="4936106"/>
                </a:lnTo>
                <a:lnTo>
                  <a:pt x="4213446" y="4745486"/>
                </a:lnTo>
                <a:cubicBezTo>
                  <a:pt x="5210634" y="3707422"/>
                  <a:pt x="5165016" y="3562023"/>
                  <a:pt x="7696388" y="1189056"/>
                </a:cubicBezTo>
                <a:cubicBezTo>
                  <a:pt x="6288912" y="1580617"/>
                  <a:pt x="3398340" y="4042914"/>
                  <a:pt x="2431301" y="4862088"/>
                </a:cubicBezTo>
                <a:lnTo>
                  <a:pt x="2343839" y="4936106"/>
                </a:lnTo>
                <a:lnTo>
                  <a:pt x="0" y="4936106"/>
                </a:lnTo>
                <a:lnTo>
                  <a:pt x="527048" y="4550069"/>
                </a:lnTo>
                <a:cubicBezTo>
                  <a:pt x="1752272" y="3658893"/>
                  <a:pt x="2835460" y="2916104"/>
                  <a:pt x="4050037" y="2135268"/>
                </a:cubicBezTo>
                <a:cubicBezTo>
                  <a:pt x="5124695" y="1510766"/>
                  <a:pt x="6069990" y="855825"/>
                  <a:pt x="7225501" y="250346"/>
                </a:cubicBezTo>
                <a:close/>
              </a:path>
            </a:pathLst>
          </a:cu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7200" tIns="97200" rIns="97200" bIns="97200" rtlCol="0" anchor="ctr">
            <a:noAutofit/>
          </a:bodyPr>
          <a:lstStyle/>
          <a:p>
            <a:pPr algn="ctr" defTabSz="486000"/>
            <a:endParaRPr lang="en-US" sz="1600">
              <a:solidFill>
                <a:schemeClr val="tx1"/>
              </a:solidFill>
            </a:endParaRPr>
          </a:p>
        </p:txBody>
      </p:sp>
    </p:spTree>
    <p:extLst>
      <p:ext uri="{BB962C8B-B14F-4D97-AF65-F5344CB8AC3E}">
        <p14:creationId xmlns:p14="http://schemas.microsoft.com/office/powerpoint/2010/main" val="2877984959"/>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8A8E-AC52-8E78-8332-38A3B4F130D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471694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a:extLst>
              <a:ext uri="{FF2B5EF4-FFF2-40B4-BE49-F238E27FC236}">
                <a16:creationId xmlns:a16="http://schemas.microsoft.com/office/drawing/2014/main" id="{DB4EAF0F-926C-C687-2CAB-EBECD17C8A7B}"/>
              </a:ext>
            </a:extLst>
          </p:cNvPr>
          <p:cNvSpPr>
            <a:spLocks noGrp="1"/>
          </p:cNvSpPr>
          <p:nvPr>
            <p:ph sz="quarter" idx="15"/>
          </p:nvPr>
        </p:nvSpPr>
        <p:spPr>
          <a:xfrm>
            <a:off x="552000" y="1700808"/>
            <a:ext cx="11088001" cy="43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1">
            <a:extLst>
              <a:ext uri="{FF2B5EF4-FFF2-40B4-BE49-F238E27FC236}">
                <a16:creationId xmlns:a16="http://schemas.microsoft.com/office/drawing/2014/main" id="{D5034C86-AB12-63AB-0C99-237B1547413E}"/>
              </a:ext>
            </a:extLst>
          </p:cNvPr>
          <p:cNvSpPr>
            <a:spLocks noGrp="1"/>
          </p:cNvSpPr>
          <p:nvPr>
            <p:ph type="title"/>
          </p:nvPr>
        </p:nvSpPr>
        <p:spPr/>
        <p:txBody>
          <a:bodyPr/>
          <a:lstStyle/>
          <a:p>
            <a:r>
              <a:rPr lang="en-US"/>
              <a:t>Click to edit Master title style</a:t>
            </a:r>
            <a:endParaRPr lang="de-DE"/>
          </a:p>
        </p:txBody>
      </p:sp>
      <p:sp>
        <p:nvSpPr>
          <p:cNvPr id="5" name="Text Placeholder 4">
            <a:extLst>
              <a:ext uri="{FF2B5EF4-FFF2-40B4-BE49-F238E27FC236}">
                <a16:creationId xmlns:a16="http://schemas.microsoft.com/office/drawing/2014/main" id="{97C48087-4076-5754-C666-1808BF3AAA17}"/>
              </a:ext>
            </a:extLst>
          </p:cNvPr>
          <p:cNvSpPr>
            <a:spLocks noGrp="1"/>
          </p:cNvSpPr>
          <p:nvPr>
            <p:ph type="body" sz="quarter" idx="16"/>
          </p:nvPr>
        </p:nvSpPr>
        <p:spPr>
          <a:xfrm>
            <a:off x="552000" y="956760"/>
            <a:ext cx="11088001" cy="312009"/>
          </a:xfrm>
        </p:spPr>
        <p:txBody>
          <a:bodyPr/>
          <a:lstStyle>
            <a:lvl1pPr>
              <a:defRPr lang="en-GB" sz="2000" b="0" i="0" kern="1200" spc="0" baseline="0">
                <a:solidFill>
                  <a:schemeClr val="accent2"/>
                </a:solidFill>
                <a:latin typeface="+mn-lt"/>
                <a:ea typeface="+mj-ea"/>
                <a:cs typeface="+mj-cs"/>
              </a:defRPr>
            </a:lvl1pPr>
          </a:lstStyle>
          <a:p>
            <a:pPr marL="0" lvl="0" indent="0" algn="l" defTabSz="972000" rtl="0" eaLnBrk="1" latinLnBrk="0" hangingPunct="1">
              <a:lnSpc>
                <a:spcPct val="105000"/>
              </a:lnSpc>
              <a:spcBef>
                <a:spcPct val="0"/>
              </a:spcBef>
              <a:spcAft>
                <a:spcPct val="0"/>
              </a:spcAft>
              <a:buFontTx/>
              <a:buNone/>
            </a:pPr>
            <a:r>
              <a:rPr lang="en-US"/>
              <a:t>Click to edit Master text styles</a:t>
            </a:r>
          </a:p>
        </p:txBody>
      </p:sp>
    </p:spTree>
    <p:extLst>
      <p:ext uri="{BB962C8B-B14F-4D97-AF65-F5344CB8AC3E}">
        <p14:creationId xmlns:p14="http://schemas.microsoft.com/office/powerpoint/2010/main" val="294414030"/>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8" name="Content Right">
            <a:extLst>
              <a:ext uri="{FF2B5EF4-FFF2-40B4-BE49-F238E27FC236}">
                <a16:creationId xmlns:a16="http://schemas.microsoft.com/office/drawing/2014/main" id="{295C4B23-21F2-2145-95FE-3AB8A6161544}"/>
              </a:ext>
            </a:extLst>
          </p:cNvPr>
          <p:cNvSpPr>
            <a:spLocks noGrp="1"/>
          </p:cNvSpPr>
          <p:nvPr>
            <p:ph sz="quarter" idx="18"/>
          </p:nvPr>
        </p:nvSpPr>
        <p:spPr>
          <a:xfrm>
            <a:off x="6366001" y="1700808"/>
            <a:ext cx="5274000" cy="43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Content Left">
            <a:extLst>
              <a:ext uri="{FF2B5EF4-FFF2-40B4-BE49-F238E27FC236}">
                <a16:creationId xmlns:a16="http://schemas.microsoft.com/office/drawing/2014/main" id="{C1BC992A-302B-241D-8898-D33B51BF796F}"/>
              </a:ext>
            </a:extLst>
          </p:cNvPr>
          <p:cNvSpPr>
            <a:spLocks noGrp="1"/>
          </p:cNvSpPr>
          <p:nvPr>
            <p:ph sz="quarter" idx="17"/>
          </p:nvPr>
        </p:nvSpPr>
        <p:spPr>
          <a:xfrm>
            <a:off x="552000" y="1700808"/>
            <a:ext cx="5274000" cy="43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1">
            <a:extLst>
              <a:ext uri="{FF2B5EF4-FFF2-40B4-BE49-F238E27FC236}">
                <a16:creationId xmlns:a16="http://schemas.microsoft.com/office/drawing/2014/main" id="{C4B581B0-C9DC-746F-44A6-3536C5D57240}"/>
              </a:ext>
            </a:extLst>
          </p:cNvPr>
          <p:cNvSpPr>
            <a:spLocks noGrp="1"/>
          </p:cNvSpPr>
          <p:nvPr>
            <p:ph type="title"/>
          </p:nvPr>
        </p:nvSpPr>
        <p:spPr/>
        <p:txBody>
          <a:bodyPr/>
          <a:lstStyle/>
          <a:p>
            <a:r>
              <a:rPr lang="en-US"/>
              <a:t>Click to edit Master title style</a:t>
            </a:r>
            <a:endParaRPr lang="de-DE"/>
          </a:p>
        </p:txBody>
      </p:sp>
      <p:sp>
        <p:nvSpPr>
          <p:cNvPr id="10" name="Subhead">
            <a:extLst>
              <a:ext uri="{FF2B5EF4-FFF2-40B4-BE49-F238E27FC236}">
                <a16:creationId xmlns:a16="http://schemas.microsoft.com/office/drawing/2014/main" id="{A2B96E86-1CA0-A5C9-1706-E774568A4135}"/>
              </a:ext>
            </a:extLst>
          </p:cNvPr>
          <p:cNvSpPr>
            <a:spLocks noGrp="1"/>
          </p:cNvSpPr>
          <p:nvPr>
            <p:ph type="body" sz="quarter" idx="14"/>
          </p:nvPr>
        </p:nvSpPr>
        <p:spPr>
          <a:xfrm>
            <a:off x="552000" y="956760"/>
            <a:ext cx="11088001" cy="312009"/>
          </a:xfrm>
          <a:prstGeom prst="rect">
            <a:avLst/>
          </a:prstGeom>
        </p:spPr>
        <p:txBody>
          <a:bodyPr vert="horz" lIns="0" tIns="0" rIns="0" bIns="0" rtlCol="0" anchor="t" anchorCtr="0">
            <a:spAutoFit/>
          </a:bodyPr>
          <a:lstStyle>
            <a:lvl1pPr>
              <a:defRPr lang="en-GB" sz="2000" b="0" i="0" spc="0">
                <a:solidFill>
                  <a:schemeClr val="accent2"/>
                </a:solidFill>
                <a:ea typeface="+mj-ea"/>
                <a:cs typeface="+mj-cs"/>
              </a:defRPr>
            </a:lvl1pPr>
            <a:lvl2pPr marL="0" indent="0">
              <a:buNone/>
              <a:defRPr lang="en-GB"/>
            </a:lvl2pPr>
            <a:lvl3pPr>
              <a:defRPr lang="en-GB"/>
            </a:lvl3pPr>
            <a:lvl4pPr>
              <a:defRPr lang="en-GB" sz="1200"/>
            </a:lvl4pPr>
            <a:lvl5pPr>
              <a:defRPr lang="en-US" sz="1400">
                <a:solidFill>
                  <a:schemeClr val="tx1"/>
                </a:solidFill>
                <a:latin typeface="+mn-lt"/>
              </a:defRPr>
            </a:lvl5pPr>
          </a:lstStyle>
          <a:p>
            <a:pPr lvl="0" defTabSz="972000">
              <a:spcBef>
                <a:spcPct val="0"/>
              </a:spcBef>
              <a:spcAft>
                <a:spcPct val="0"/>
              </a:spcAft>
            </a:pPr>
            <a:r>
              <a:rPr lang="en-US"/>
              <a:t>Click to edit Master text styles</a:t>
            </a:r>
          </a:p>
        </p:txBody>
      </p:sp>
    </p:spTree>
    <p:extLst>
      <p:ext uri="{BB962C8B-B14F-4D97-AF65-F5344CB8AC3E}">
        <p14:creationId xmlns:p14="http://schemas.microsoft.com/office/powerpoint/2010/main" val="1564892676"/>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15:guide id="1" pos="4009">
          <p15:clr>
            <a:srgbClr val="FBAE40"/>
          </p15:clr>
        </p15:guide>
        <p15:guide id="2" pos="368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with Swoosh">
    <p:bg>
      <p:bgRef idx="1001">
        <a:schemeClr val="bg1"/>
      </p:bgRef>
    </p:bg>
    <p:spTree>
      <p:nvGrpSpPr>
        <p:cNvPr id="1" name=""/>
        <p:cNvGrpSpPr/>
        <p:nvPr/>
      </p:nvGrpSpPr>
      <p:grpSpPr>
        <a:xfrm>
          <a:off x="0" y="0"/>
          <a:ext cx="0" cy="0"/>
          <a:chOff x="0" y="0"/>
          <a:chExt cx="0" cy="0"/>
        </a:xfrm>
      </p:grpSpPr>
      <p:sp>
        <p:nvSpPr>
          <p:cNvPr id="3" name="Squiggle">
            <a:extLst>
              <a:ext uri="{FF2B5EF4-FFF2-40B4-BE49-F238E27FC236}">
                <a16:creationId xmlns:a16="http://schemas.microsoft.com/office/drawing/2014/main" id="{F1E92234-4982-3E11-5373-29201E90D1F3}"/>
              </a:ext>
            </a:extLst>
          </p:cNvPr>
          <p:cNvSpPr/>
          <p:nvPr/>
        </p:nvSpPr>
        <p:spPr>
          <a:xfrm rot="440875">
            <a:off x="-180921" y="253530"/>
            <a:ext cx="12690000" cy="7380000"/>
          </a:xfrm>
          <a:custGeom>
            <a:avLst/>
            <a:gdLst>
              <a:gd name="connsiteX0" fmla="*/ 9663071 w 12695865"/>
              <a:gd name="connsiteY0" fmla="*/ 4936695 h 7287592"/>
              <a:gd name="connsiteX1" fmla="*/ 10305791 w 12695865"/>
              <a:gd name="connsiteY1" fmla="*/ 5792294 h 7287592"/>
              <a:gd name="connsiteX2" fmla="*/ 10311345 w 12695865"/>
              <a:gd name="connsiteY2" fmla="*/ 6036691 h 7287592"/>
              <a:gd name="connsiteX3" fmla="*/ 7848321 w 12695865"/>
              <a:gd name="connsiteY3" fmla="*/ 6354305 h 7287592"/>
              <a:gd name="connsiteX4" fmla="*/ 8104991 w 12695865"/>
              <a:gd name="connsiteY4" fmla="*/ 6087878 h 7287592"/>
              <a:gd name="connsiteX5" fmla="*/ 8557333 w 12695865"/>
              <a:gd name="connsiteY5" fmla="*/ 5654250 h 7287592"/>
              <a:gd name="connsiteX6" fmla="*/ 8513989 w 12695865"/>
              <a:gd name="connsiteY6" fmla="*/ 5695171 h 7287592"/>
              <a:gd name="connsiteX7" fmla="*/ 9663071 w 12695865"/>
              <a:gd name="connsiteY7" fmla="*/ 4936695 h 7287592"/>
              <a:gd name="connsiteX8" fmla="*/ 12541795 w 12695865"/>
              <a:gd name="connsiteY8" fmla="*/ 4534420 h 7287592"/>
              <a:gd name="connsiteX9" fmla="*/ 12695865 w 12695865"/>
              <a:gd name="connsiteY9" fmla="*/ 5729200 h 7287592"/>
              <a:gd name="connsiteX10" fmla="*/ 10900128 w 12695865"/>
              <a:gd name="connsiteY10" fmla="*/ 5960765 h 7287592"/>
              <a:gd name="connsiteX11" fmla="*/ 10946590 w 12695865"/>
              <a:gd name="connsiteY11" fmla="*/ 5897077 h 7287592"/>
              <a:gd name="connsiteX12" fmla="*/ 12448100 w 12695865"/>
              <a:gd name="connsiteY12" fmla="*/ 4561770 h 7287592"/>
              <a:gd name="connsiteX13" fmla="*/ 1370551 w 12695865"/>
              <a:gd name="connsiteY13" fmla="*/ 351679 h 7287592"/>
              <a:gd name="connsiteX14" fmla="*/ 4097748 w 12695865"/>
              <a:gd name="connsiteY14" fmla="*/ 0 h 7287592"/>
              <a:gd name="connsiteX15" fmla="*/ 4040937 w 12695865"/>
              <a:gd name="connsiteY15" fmla="*/ 206166 h 7287592"/>
              <a:gd name="connsiteX16" fmla="*/ 3126329 w 12695865"/>
              <a:gd name="connsiteY16" fmla="*/ 4987643 h 7287592"/>
              <a:gd name="connsiteX17" fmla="*/ 5213612 w 12695865"/>
              <a:gd name="connsiteY17" fmla="*/ 6403045 h 7287592"/>
              <a:gd name="connsiteX18" fmla="*/ 5130314 w 12695865"/>
              <a:gd name="connsiteY18" fmla="*/ 6704801 h 7287592"/>
              <a:gd name="connsiteX19" fmla="*/ 610910 w 12695865"/>
              <a:gd name="connsiteY19" fmla="*/ 7287592 h 7287592"/>
              <a:gd name="connsiteX20" fmla="*/ 627644 w 12695865"/>
              <a:gd name="connsiteY20" fmla="*/ 7128260 h 7287592"/>
              <a:gd name="connsiteX21" fmla="*/ 1900910 w 12695865"/>
              <a:gd name="connsiteY21" fmla="*/ 1224060 h 7287592"/>
              <a:gd name="connsiteX22" fmla="*/ 629083 w 12695865"/>
              <a:gd name="connsiteY22" fmla="*/ 3725990 h 7287592"/>
              <a:gd name="connsiteX23" fmla="*/ 251309 w 12695865"/>
              <a:gd name="connsiteY23" fmla="*/ 4553535 h 7287592"/>
              <a:gd name="connsiteX24" fmla="*/ 0 w 12695865"/>
              <a:gd name="connsiteY24" fmla="*/ 2604695 h 7287592"/>
              <a:gd name="connsiteX25" fmla="*/ 2386 w 12695865"/>
              <a:gd name="connsiteY25" fmla="*/ 2600336 h 7287592"/>
              <a:gd name="connsiteX26" fmla="*/ 1325283 w 12695865"/>
              <a:gd name="connsiteY26" fmla="*/ 419479 h 7287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695865" h="7287591">
                <a:moveTo>
                  <a:pt x="9663071" y="4936695"/>
                </a:moveTo>
                <a:cubicBezTo>
                  <a:pt x="10060600" y="4894909"/>
                  <a:pt x="10268482" y="5244305"/>
                  <a:pt x="10305791" y="5792294"/>
                </a:cubicBezTo>
                <a:lnTo>
                  <a:pt x="10311345" y="6036691"/>
                </a:lnTo>
                <a:lnTo>
                  <a:pt x="7848321" y="6354305"/>
                </a:lnTo>
                <a:lnTo>
                  <a:pt x="8104991" y="6087878"/>
                </a:lnTo>
                <a:cubicBezTo>
                  <a:pt x="8252505" y="5940608"/>
                  <a:pt x="8403221" y="5796001"/>
                  <a:pt x="8557333" y="5654250"/>
                </a:cubicBezTo>
                <a:lnTo>
                  <a:pt x="8513989" y="5695171"/>
                </a:lnTo>
                <a:cubicBezTo>
                  <a:pt x="8998410" y="5195972"/>
                  <a:pt x="9379120" y="4966542"/>
                  <a:pt x="9663071" y="4936695"/>
                </a:cubicBezTo>
                <a:close/>
                <a:moveTo>
                  <a:pt x="12541795" y="4534420"/>
                </a:moveTo>
                <a:lnTo>
                  <a:pt x="12695865" y="5729200"/>
                </a:lnTo>
                <a:lnTo>
                  <a:pt x="10900128" y="5960765"/>
                </a:lnTo>
                <a:lnTo>
                  <a:pt x="10946590" y="5897077"/>
                </a:lnTo>
                <a:cubicBezTo>
                  <a:pt x="11371257" y="5326275"/>
                  <a:pt x="11838265" y="4782811"/>
                  <a:pt x="12448100" y="4561770"/>
                </a:cubicBezTo>
                <a:close/>
                <a:moveTo>
                  <a:pt x="1370551" y="351679"/>
                </a:moveTo>
                <a:lnTo>
                  <a:pt x="4097748" y="0"/>
                </a:lnTo>
                <a:lnTo>
                  <a:pt x="4040937" y="206166"/>
                </a:lnTo>
                <a:cubicBezTo>
                  <a:pt x="3490251" y="2200230"/>
                  <a:pt x="2877792" y="4387758"/>
                  <a:pt x="3126329" y="4987643"/>
                </a:cubicBezTo>
                <a:cubicBezTo>
                  <a:pt x="6193293" y="1106531"/>
                  <a:pt x="6065499" y="3229140"/>
                  <a:pt x="5213612" y="6403045"/>
                </a:cubicBezTo>
                <a:lnTo>
                  <a:pt x="5130314" y="6704801"/>
                </a:lnTo>
                <a:lnTo>
                  <a:pt x="610910" y="7287592"/>
                </a:lnTo>
                <a:lnTo>
                  <a:pt x="627644" y="7128260"/>
                </a:lnTo>
                <a:cubicBezTo>
                  <a:pt x="875017" y="5047620"/>
                  <a:pt x="1616591" y="2236346"/>
                  <a:pt x="1900910" y="1224060"/>
                </a:cubicBezTo>
                <a:cubicBezTo>
                  <a:pt x="1445282" y="2042854"/>
                  <a:pt x="1026698" y="2879400"/>
                  <a:pt x="629083" y="3725990"/>
                </a:cubicBezTo>
                <a:lnTo>
                  <a:pt x="251309" y="4553535"/>
                </a:lnTo>
                <a:lnTo>
                  <a:pt x="0" y="2604695"/>
                </a:lnTo>
                <a:lnTo>
                  <a:pt x="2386" y="2600336"/>
                </a:lnTo>
                <a:cubicBezTo>
                  <a:pt x="429300" y="1840867"/>
                  <a:pt x="876718" y="1104271"/>
                  <a:pt x="1325283" y="419479"/>
                </a:cubicBezTo>
                <a:close/>
              </a:path>
            </a:pathLst>
          </a:custGeom>
          <a:gradFill>
            <a:gsLst>
              <a:gs pos="0">
                <a:srgbClr val="E3E3E3"/>
              </a:gs>
              <a:gs pos="50000">
                <a:srgbClr val="E5E5E5"/>
              </a:gs>
              <a:gs pos="75000">
                <a:srgbClr val="ECECEC"/>
              </a:gs>
              <a:gs pos="95000">
                <a:srgbClr val="FAFAFA"/>
              </a:gs>
              <a:gs pos="100000">
                <a:srgbClr val="FFFFFF"/>
              </a:gs>
            </a:gsLst>
            <a:lin ang="13500000" scaled="1"/>
          </a:gradFill>
          <a:ln w="11792" cap="flat">
            <a:noFill/>
            <a:prstDash val="solid"/>
            <a:miter/>
          </a:ln>
        </p:spPr>
        <p:txBody>
          <a:bodyPr rtlCol="0" anchor="ctr"/>
          <a:lstStyle/>
          <a:p>
            <a:endParaRPr lang="en-US"/>
          </a:p>
        </p:txBody>
      </p:sp>
      <p:sp>
        <p:nvSpPr>
          <p:cNvPr id="7" name="Page number">
            <a:extLst>
              <a:ext uri="{FF2B5EF4-FFF2-40B4-BE49-F238E27FC236}">
                <a16:creationId xmlns:a16="http://schemas.microsoft.com/office/drawing/2014/main" id="{8FC8295C-3D67-1A2A-D3FF-3587A0DDF7AD}"/>
              </a:ext>
            </a:extLst>
          </p:cNvPr>
          <p:cNvSpPr txBox="1"/>
          <p:nvPr userDrawn="1"/>
        </p:nvSpPr>
        <p:spPr>
          <a:xfrm>
            <a:off x="11233601" y="6525344"/>
            <a:ext cx="406400" cy="141577"/>
          </a:xfrm>
          <a:prstGeom prst="rect">
            <a:avLst/>
          </a:prstGeom>
          <a:noFill/>
        </p:spPr>
        <p:txBody>
          <a:bodyPr vert="horz" wrap="square" lIns="0" tIns="0" rIns="0" bIns="0" rtlCol="0">
            <a:noAutofit/>
          </a:bodyPr>
          <a:lstStyle/>
          <a:p>
            <a:pPr algn="r">
              <a:lnSpc>
                <a:spcPct val="100000"/>
              </a:lnSpc>
              <a:spcAft>
                <a:spcPct val="0"/>
              </a:spcAft>
            </a:pPr>
            <a:fld id="{28EFE765-FF9D-4A30-9EA2-0EADEF4E4456}" type="slidenum">
              <a:rPr lang="en-GB" sz="900" kern="1200" baseline="0">
                <a:solidFill>
                  <a:schemeClr val="tx1"/>
                </a:solidFill>
                <a:latin typeface="+mn-lt"/>
                <a:ea typeface="+mn-ea"/>
                <a:cs typeface="+mn-cs"/>
              </a:rPr>
              <a:pPr algn="r">
                <a:lnSpc>
                  <a:spcPct val="100000"/>
                </a:lnSpc>
                <a:spcAft>
                  <a:spcPct val="0"/>
                </a:spcAft>
              </a:pPr>
              <a:t>‹#›</a:t>
            </a:fld>
            <a:endParaRPr lang="en-GB" sz="900" kern="1200" baseline="0">
              <a:solidFill>
                <a:schemeClr val="tx1"/>
              </a:solidFill>
              <a:latin typeface="+mn-lt"/>
              <a:ea typeface="+mn-ea"/>
              <a:cs typeface="+mn-cs"/>
            </a:endParaRPr>
          </a:p>
        </p:txBody>
      </p:sp>
      <p:sp>
        <p:nvSpPr>
          <p:cNvPr id="5" name="Title 4">
            <a:extLst>
              <a:ext uri="{FF2B5EF4-FFF2-40B4-BE49-F238E27FC236}">
                <a16:creationId xmlns:a16="http://schemas.microsoft.com/office/drawing/2014/main" id="{2A9CC6FB-50A5-8E85-2352-EFD550F0075C}"/>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6106905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Swoosh">
    <p:bg>
      <p:bgPr>
        <a:solidFill>
          <a:schemeClr val="bg1"/>
        </a:solidFill>
        <a:effectLst/>
      </p:bgPr>
    </p:bg>
    <p:spTree>
      <p:nvGrpSpPr>
        <p:cNvPr id="1" name=""/>
        <p:cNvGrpSpPr/>
        <p:nvPr/>
      </p:nvGrpSpPr>
      <p:grpSpPr>
        <a:xfrm>
          <a:off x="0" y="0"/>
          <a:ext cx="0" cy="0"/>
          <a:chOff x="0" y="0"/>
          <a:chExt cx="0" cy="0"/>
        </a:xfrm>
      </p:grpSpPr>
      <p:sp>
        <p:nvSpPr>
          <p:cNvPr id="17" name="Gradient background">
            <a:extLst>
              <a:ext uri="{FF2B5EF4-FFF2-40B4-BE49-F238E27FC236}">
                <a16:creationId xmlns:a16="http://schemas.microsoft.com/office/drawing/2014/main" id="{FF4FA843-E9AB-E4D0-4382-8A499820EF90}"/>
              </a:ext>
            </a:extLst>
          </p:cNvPr>
          <p:cNvSpPr/>
          <p:nvPr/>
        </p:nvSpPr>
        <p:spPr>
          <a:xfrm>
            <a:off x="0" y="0"/>
            <a:ext cx="12192000" cy="6858001"/>
          </a:xfrm>
          <a:prstGeom prst="rect">
            <a:avLst/>
          </a:prstGeom>
          <a:gradFill flip="none" rotWithShape="1">
            <a:gsLst>
              <a:gs pos="0">
                <a:schemeClr val="bg1"/>
              </a:gs>
              <a:gs pos="100000">
                <a:schemeClr val="bg2"/>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T"/>
          </a:p>
        </p:txBody>
      </p:sp>
      <p:sp>
        <p:nvSpPr>
          <p:cNvPr id="10" name="Squiggle">
            <a:extLst>
              <a:ext uri="{FF2B5EF4-FFF2-40B4-BE49-F238E27FC236}">
                <a16:creationId xmlns:a16="http://schemas.microsoft.com/office/drawing/2014/main" id="{751B40F4-B93C-487C-7153-09E178C1455F}"/>
              </a:ext>
            </a:extLst>
          </p:cNvPr>
          <p:cNvSpPr/>
          <p:nvPr userDrawn="1"/>
        </p:nvSpPr>
        <p:spPr bwMode="ltGray">
          <a:xfrm rot="8762903">
            <a:off x="-918620" y="638750"/>
            <a:ext cx="13864613" cy="6245410"/>
          </a:xfrm>
          <a:custGeom>
            <a:avLst/>
            <a:gdLst>
              <a:gd name="connsiteX0" fmla="*/ 1075189 w 6958630"/>
              <a:gd name="connsiteY0" fmla="*/ 3819662 h 5352044"/>
              <a:gd name="connsiteX1" fmla="*/ 0 w 6958630"/>
              <a:gd name="connsiteY1" fmla="*/ 2549993 h 5352044"/>
              <a:gd name="connsiteX2" fmla="*/ 273834 w 6958630"/>
              <a:gd name="connsiteY2" fmla="*/ 1601357 h 5352044"/>
              <a:gd name="connsiteX3" fmla="*/ 455464 w 6958630"/>
              <a:gd name="connsiteY3" fmla="*/ 992346 h 5352044"/>
              <a:gd name="connsiteX4" fmla="*/ 482058 w 6958630"/>
              <a:gd name="connsiteY4" fmla="*/ 912917 h 5352044"/>
              <a:gd name="connsiteX5" fmla="*/ 1560103 w 6958630"/>
              <a:gd name="connsiteY5" fmla="*/ 0 h 5352044"/>
              <a:gd name="connsiteX6" fmla="*/ 1563049 w 6958630"/>
              <a:gd name="connsiteY6" fmla="*/ 19661 h 5352044"/>
              <a:gd name="connsiteX7" fmla="*/ 1535672 w 6958630"/>
              <a:gd name="connsiteY7" fmla="*/ 208675 h 5352044"/>
              <a:gd name="connsiteX8" fmla="*/ 1431946 w 6958630"/>
              <a:gd name="connsiteY8" fmla="*/ 705650 h 5352044"/>
              <a:gd name="connsiteX9" fmla="*/ 1308739 w 6958630"/>
              <a:gd name="connsiteY9" fmla="*/ 1469663 h 5352044"/>
              <a:gd name="connsiteX10" fmla="*/ 1089432 w 6958630"/>
              <a:gd name="connsiteY10" fmla="*/ 3521397 h 5352044"/>
              <a:gd name="connsiteX11" fmla="*/ 1075189 w 6958630"/>
              <a:gd name="connsiteY11" fmla="*/ 3819662 h 5352044"/>
              <a:gd name="connsiteX12" fmla="*/ 1996876 w 6958630"/>
              <a:gd name="connsiteY12" fmla="*/ 4908063 h 5352044"/>
              <a:gd name="connsiteX13" fmla="*/ 1398177 w 6958630"/>
              <a:gd name="connsiteY13" fmla="*/ 4201072 h 5352044"/>
              <a:gd name="connsiteX14" fmla="*/ 1590566 w 6958630"/>
              <a:gd name="connsiteY14" fmla="*/ 3604919 h 5352044"/>
              <a:gd name="connsiteX15" fmla="*/ 1974502 w 6958630"/>
              <a:gd name="connsiteY15" fmla="*/ 2496593 h 5352044"/>
              <a:gd name="connsiteX16" fmla="*/ 2349059 w 6958630"/>
              <a:gd name="connsiteY16" fmla="*/ 1514660 h 5352044"/>
              <a:gd name="connsiteX17" fmla="*/ 2474209 w 6958630"/>
              <a:gd name="connsiteY17" fmla="*/ 1195792 h 5352044"/>
              <a:gd name="connsiteX18" fmla="*/ 2595638 w 6958630"/>
              <a:gd name="connsiteY18" fmla="*/ 980346 h 5352044"/>
              <a:gd name="connsiteX19" fmla="*/ 3160829 w 6958630"/>
              <a:gd name="connsiteY19" fmla="*/ 512585 h 5352044"/>
              <a:gd name="connsiteX20" fmla="*/ 3435866 w 6958630"/>
              <a:gd name="connsiteY20" fmla="*/ 585618 h 5352044"/>
              <a:gd name="connsiteX21" fmla="*/ 3450660 w 6958630"/>
              <a:gd name="connsiteY21" fmla="*/ 838639 h 5352044"/>
              <a:gd name="connsiteX22" fmla="*/ 3404013 w 6958630"/>
              <a:gd name="connsiteY22" fmla="*/ 1499936 h 5352044"/>
              <a:gd name="connsiteX23" fmla="*/ 3313870 w 6958630"/>
              <a:gd name="connsiteY23" fmla="*/ 2850918 h 5352044"/>
              <a:gd name="connsiteX24" fmla="*/ 3369572 w 6958630"/>
              <a:gd name="connsiteY24" fmla="*/ 2686006 h 5352044"/>
              <a:gd name="connsiteX25" fmla="*/ 3706860 w 6958630"/>
              <a:gd name="connsiteY25" fmla="*/ 1716324 h 5352044"/>
              <a:gd name="connsiteX26" fmla="*/ 3936380 w 6958630"/>
              <a:gd name="connsiteY26" fmla="*/ 1155977 h 5352044"/>
              <a:gd name="connsiteX27" fmla="*/ 4337132 w 6958630"/>
              <a:gd name="connsiteY27" fmla="*/ 522126 h 5352044"/>
              <a:gd name="connsiteX28" fmla="*/ 4436557 w 6958630"/>
              <a:gd name="connsiteY28" fmla="*/ 425574 h 5352044"/>
              <a:gd name="connsiteX29" fmla="*/ 4508920 w 6958630"/>
              <a:gd name="connsiteY29" fmla="*/ 367382 h 5352044"/>
              <a:gd name="connsiteX30" fmla="*/ 5115640 w 6958630"/>
              <a:gd name="connsiteY30" fmla="*/ 1083845 h 5352044"/>
              <a:gd name="connsiteX31" fmla="*/ 5115018 w 6958630"/>
              <a:gd name="connsiteY31" fmla="*/ 1096653 h 5352044"/>
              <a:gd name="connsiteX32" fmla="*/ 5091987 w 6958630"/>
              <a:gd name="connsiteY32" fmla="*/ 1380611 h 5352044"/>
              <a:gd name="connsiteX33" fmla="*/ 5018983 w 6958630"/>
              <a:gd name="connsiteY33" fmla="*/ 2135554 h 5352044"/>
              <a:gd name="connsiteX34" fmla="*/ 4977834 w 6958630"/>
              <a:gd name="connsiteY34" fmla="*/ 2587648 h 5352044"/>
              <a:gd name="connsiteX35" fmla="*/ 5285289 w 6958630"/>
              <a:gd name="connsiteY35" fmla="*/ 2003389 h 5352044"/>
              <a:gd name="connsiteX36" fmla="*/ 5453822 w 6958630"/>
              <a:gd name="connsiteY36" fmla="*/ 1744212 h 5352044"/>
              <a:gd name="connsiteX37" fmla="*/ 5559908 w 6958630"/>
              <a:gd name="connsiteY37" fmla="*/ 1608472 h 5352044"/>
              <a:gd name="connsiteX38" fmla="*/ 6798419 w 6958630"/>
              <a:gd name="connsiteY38" fmla="*/ 3071005 h 5352044"/>
              <a:gd name="connsiteX39" fmla="*/ 6904383 w 6958630"/>
              <a:gd name="connsiteY39" fmla="*/ 3276626 h 5352044"/>
              <a:gd name="connsiteX40" fmla="*/ 6958630 w 6958630"/>
              <a:gd name="connsiteY40" fmla="*/ 3303366 h 5352044"/>
              <a:gd name="connsiteX41" fmla="*/ 6929041 w 6958630"/>
              <a:gd name="connsiteY41" fmla="*/ 3371333 h 5352044"/>
              <a:gd name="connsiteX42" fmla="*/ 6842183 w 6958630"/>
              <a:gd name="connsiteY42" fmla="*/ 3496813 h 5352044"/>
              <a:gd name="connsiteX43" fmla="*/ 6752598 w 6958630"/>
              <a:gd name="connsiteY43" fmla="*/ 3590980 h 5352044"/>
              <a:gd name="connsiteX44" fmla="*/ 6636435 w 6958630"/>
              <a:gd name="connsiteY44" fmla="*/ 3689350 h 5352044"/>
              <a:gd name="connsiteX45" fmla="*/ 6534262 w 6958630"/>
              <a:gd name="connsiteY45" fmla="*/ 3751543 h 5352044"/>
              <a:gd name="connsiteX46" fmla="*/ 6311623 w 6958630"/>
              <a:gd name="connsiteY46" fmla="*/ 3821071 h 5352044"/>
              <a:gd name="connsiteX47" fmla="*/ 6205393 w 6958630"/>
              <a:gd name="connsiteY47" fmla="*/ 3821425 h 5352044"/>
              <a:gd name="connsiteX48" fmla="*/ 6113794 w 6958630"/>
              <a:gd name="connsiteY48" fmla="*/ 3789856 h 5352044"/>
              <a:gd name="connsiteX49" fmla="*/ 5957763 w 6958630"/>
              <a:gd name="connsiteY49" fmla="*/ 3645087 h 5352044"/>
              <a:gd name="connsiteX50" fmla="*/ 5871500 w 6958630"/>
              <a:gd name="connsiteY50" fmla="*/ 3407024 h 5352044"/>
              <a:gd name="connsiteX51" fmla="*/ 5850157 w 6958630"/>
              <a:gd name="connsiteY51" fmla="*/ 3228802 h 5352044"/>
              <a:gd name="connsiteX52" fmla="*/ 5855735 w 6958630"/>
              <a:gd name="connsiteY52" fmla="*/ 2702379 h 5352044"/>
              <a:gd name="connsiteX53" fmla="*/ 5851694 w 6958630"/>
              <a:gd name="connsiteY53" fmla="*/ 2416140 h 5352044"/>
              <a:gd name="connsiteX54" fmla="*/ 5849753 w 6958630"/>
              <a:gd name="connsiteY54" fmla="*/ 2339220 h 5352044"/>
              <a:gd name="connsiteX55" fmla="*/ 5526775 w 6958630"/>
              <a:gd name="connsiteY55" fmla="*/ 3089687 h 5352044"/>
              <a:gd name="connsiteX56" fmla="*/ 5318032 w 6958630"/>
              <a:gd name="connsiteY56" fmla="*/ 3567460 h 5352044"/>
              <a:gd name="connsiteX57" fmla="*/ 5075333 w 6958630"/>
              <a:gd name="connsiteY57" fmla="*/ 3948996 h 5352044"/>
              <a:gd name="connsiteX58" fmla="*/ 4924556 w 6958630"/>
              <a:gd name="connsiteY58" fmla="*/ 4127219 h 5352044"/>
              <a:gd name="connsiteX59" fmla="*/ 4635048 w 6958630"/>
              <a:gd name="connsiteY59" fmla="*/ 4368343 h 5352044"/>
              <a:gd name="connsiteX60" fmla="*/ 4359931 w 6958630"/>
              <a:gd name="connsiteY60" fmla="*/ 4482250 h 5352044"/>
              <a:gd name="connsiteX61" fmla="*/ 4263401 w 6958630"/>
              <a:gd name="connsiteY61" fmla="*/ 4484960 h 5352044"/>
              <a:gd name="connsiteX62" fmla="*/ 3999117 w 6958630"/>
              <a:gd name="connsiteY62" fmla="*/ 4107900 h 5352044"/>
              <a:gd name="connsiteX63" fmla="*/ 3984242 w 6958630"/>
              <a:gd name="connsiteY63" fmla="*/ 3763234 h 5352044"/>
              <a:gd name="connsiteX64" fmla="*/ 4001623 w 6958630"/>
              <a:gd name="connsiteY64" fmla="*/ 3345301 h 5352044"/>
              <a:gd name="connsiteX65" fmla="*/ 4018520 w 6958630"/>
              <a:gd name="connsiteY65" fmla="*/ 3140220 h 5352044"/>
              <a:gd name="connsiteX66" fmla="*/ 3918918 w 6958630"/>
              <a:gd name="connsiteY66" fmla="*/ 3442952 h 5352044"/>
              <a:gd name="connsiteX67" fmla="*/ 3739925 w 6958630"/>
              <a:gd name="connsiteY67" fmla="*/ 3941692 h 5352044"/>
              <a:gd name="connsiteX68" fmla="*/ 3266332 w 6958630"/>
              <a:gd name="connsiteY68" fmla="*/ 4905602 h 5352044"/>
              <a:gd name="connsiteX69" fmla="*/ 2513418 w 6958630"/>
              <a:gd name="connsiteY69" fmla="*/ 5349452 h 5352044"/>
              <a:gd name="connsiteX70" fmla="*/ 2277187 w 6958630"/>
              <a:gd name="connsiteY70" fmla="*/ 4857072 h 5352044"/>
              <a:gd name="connsiteX71" fmla="*/ 2326260 w 6958630"/>
              <a:gd name="connsiteY71" fmla="*/ 3819775 h 5352044"/>
              <a:gd name="connsiteX72" fmla="*/ 2048658 w 6958630"/>
              <a:gd name="connsiteY72" fmla="*/ 4760224 h 5352044"/>
              <a:gd name="connsiteX73" fmla="*/ 1996876 w 6958630"/>
              <a:gd name="connsiteY73" fmla="*/ 4908063 h 5352044"/>
              <a:gd name="connsiteX74" fmla="*/ 1996876 w 6958630"/>
              <a:gd name="connsiteY74" fmla="*/ 4908063 h 5352044"/>
              <a:gd name="connsiteX75" fmla="*/ 1996876 w 6958630"/>
              <a:gd name="connsiteY75" fmla="*/ 4908063 h 5352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6958630" h="5352044">
                <a:moveTo>
                  <a:pt x="1075189" y="3819662"/>
                </a:moveTo>
                <a:lnTo>
                  <a:pt x="0" y="2549993"/>
                </a:lnTo>
                <a:lnTo>
                  <a:pt x="273834" y="1601357"/>
                </a:lnTo>
                <a:cubicBezTo>
                  <a:pt x="334145" y="1401224"/>
                  <a:pt x="392071" y="1194731"/>
                  <a:pt x="455464" y="992346"/>
                </a:cubicBezTo>
                <a:lnTo>
                  <a:pt x="482058" y="912917"/>
                </a:lnTo>
                <a:lnTo>
                  <a:pt x="1560103" y="0"/>
                </a:lnTo>
                <a:lnTo>
                  <a:pt x="1563049" y="19661"/>
                </a:lnTo>
                <a:cubicBezTo>
                  <a:pt x="1562735" y="79603"/>
                  <a:pt x="1547759" y="145008"/>
                  <a:pt x="1535672" y="208675"/>
                </a:cubicBezTo>
                <a:cubicBezTo>
                  <a:pt x="1503981" y="375590"/>
                  <a:pt x="1464447" y="539089"/>
                  <a:pt x="1431946" y="705650"/>
                </a:cubicBezTo>
                <a:cubicBezTo>
                  <a:pt x="1382793" y="957376"/>
                  <a:pt x="1338086" y="1211340"/>
                  <a:pt x="1308739" y="1469663"/>
                </a:cubicBezTo>
                <a:cubicBezTo>
                  <a:pt x="1231248" y="2152398"/>
                  <a:pt x="1132111" y="2839043"/>
                  <a:pt x="1089432" y="3521397"/>
                </a:cubicBezTo>
                <a:lnTo>
                  <a:pt x="1075189" y="3819662"/>
                </a:lnTo>
                <a:close/>
                <a:moveTo>
                  <a:pt x="1996876" y="4908063"/>
                </a:moveTo>
                <a:lnTo>
                  <a:pt x="1398177" y="4201072"/>
                </a:lnTo>
                <a:lnTo>
                  <a:pt x="1590566" y="3604919"/>
                </a:lnTo>
                <a:cubicBezTo>
                  <a:pt x="1715230" y="3233985"/>
                  <a:pt x="1843451" y="2864347"/>
                  <a:pt x="1974502" y="2496593"/>
                </a:cubicBezTo>
                <a:cubicBezTo>
                  <a:pt x="2096579" y="2167829"/>
                  <a:pt x="2219221" y="1839301"/>
                  <a:pt x="2349059" y="1514660"/>
                </a:cubicBezTo>
                <a:cubicBezTo>
                  <a:pt x="2389159" y="1407350"/>
                  <a:pt x="2429178" y="1300275"/>
                  <a:pt x="2474209" y="1195792"/>
                </a:cubicBezTo>
                <a:cubicBezTo>
                  <a:pt x="2506143" y="1116870"/>
                  <a:pt x="2552548" y="1049491"/>
                  <a:pt x="2595638" y="980346"/>
                </a:cubicBezTo>
                <a:cubicBezTo>
                  <a:pt x="2735420" y="756066"/>
                  <a:pt x="2952975" y="554992"/>
                  <a:pt x="3160829" y="512585"/>
                </a:cubicBezTo>
                <a:cubicBezTo>
                  <a:pt x="3221463" y="500216"/>
                  <a:pt x="3408378" y="448388"/>
                  <a:pt x="3435866" y="585618"/>
                </a:cubicBezTo>
                <a:cubicBezTo>
                  <a:pt x="3451954" y="666424"/>
                  <a:pt x="3452762" y="752296"/>
                  <a:pt x="3450660" y="838639"/>
                </a:cubicBezTo>
                <a:cubicBezTo>
                  <a:pt x="3439018" y="1058797"/>
                  <a:pt x="3418080" y="1279661"/>
                  <a:pt x="3404013" y="1499936"/>
                </a:cubicBezTo>
                <a:cubicBezTo>
                  <a:pt x="3374990" y="1950264"/>
                  <a:pt x="3346451" y="2400472"/>
                  <a:pt x="3313870" y="2850918"/>
                </a:cubicBezTo>
                <a:cubicBezTo>
                  <a:pt x="3332222" y="2798028"/>
                  <a:pt x="3350735" y="2741958"/>
                  <a:pt x="3369572" y="2686006"/>
                </a:cubicBezTo>
                <a:cubicBezTo>
                  <a:pt x="3474752" y="2359481"/>
                  <a:pt x="3593999" y="2039316"/>
                  <a:pt x="3706860" y="1716324"/>
                </a:cubicBezTo>
                <a:cubicBezTo>
                  <a:pt x="3783340" y="1529502"/>
                  <a:pt x="3858769" y="1342092"/>
                  <a:pt x="3936380" y="1155977"/>
                </a:cubicBezTo>
                <a:cubicBezTo>
                  <a:pt x="4039217" y="901659"/>
                  <a:pt x="4175037" y="691750"/>
                  <a:pt x="4337132" y="522126"/>
                </a:cubicBezTo>
                <a:cubicBezTo>
                  <a:pt x="4369187" y="488614"/>
                  <a:pt x="4402385" y="456103"/>
                  <a:pt x="4436557" y="425574"/>
                </a:cubicBezTo>
                <a:lnTo>
                  <a:pt x="4508920" y="367382"/>
                </a:lnTo>
                <a:lnTo>
                  <a:pt x="5115640" y="1083845"/>
                </a:lnTo>
                <a:cubicBezTo>
                  <a:pt x="5115433" y="1088114"/>
                  <a:pt x="5115225" y="1092384"/>
                  <a:pt x="5115018" y="1096653"/>
                </a:cubicBezTo>
                <a:cubicBezTo>
                  <a:pt x="5108399" y="1191256"/>
                  <a:pt x="5100234" y="1285963"/>
                  <a:pt x="5091987" y="1380611"/>
                </a:cubicBezTo>
                <a:cubicBezTo>
                  <a:pt x="5067734" y="1632219"/>
                  <a:pt x="5042105" y="1883946"/>
                  <a:pt x="5018983" y="2135554"/>
                </a:cubicBezTo>
                <a:cubicBezTo>
                  <a:pt x="5005644" y="2286213"/>
                  <a:pt x="4990608" y="2436988"/>
                  <a:pt x="4977834" y="2587648"/>
                </a:cubicBezTo>
                <a:cubicBezTo>
                  <a:pt x="5067734" y="2382804"/>
                  <a:pt x="5169275" y="2185970"/>
                  <a:pt x="5285289" y="2003389"/>
                </a:cubicBezTo>
                <a:cubicBezTo>
                  <a:pt x="5338404" y="1913394"/>
                  <a:pt x="5394693" y="1826992"/>
                  <a:pt x="5453822" y="1744212"/>
                </a:cubicBezTo>
                <a:lnTo>
                  <a:pt x="5559908" y="1608472"/>
                </a:lnTo>
                <a:lnTo>
                  <a:pt x="6798419" y="3071005"/>
                </a:lnTo>
                <a:cubicBezTo>
                  <a:pt x="7022498" y="3349031"/>
                  <a:pt x="6877681" y="3237899"/>
                  <a:pt x="6904383" y="3276626"/>
                </a:cubicBezTo>
                <a:cubicBezTo>
                  <a:pt x="6931085" y="3315353"/>
                  <a:pt x="6916024" y="3277333"/>
                  <a:pt x="6958630" y="3303366"/>
                </a:cubicBezTo>
                <a:cubicBezTo>
                  <a:pt x="6951435" y="3327514"/>
                  <a:pt x="6940360" y="3349895"/>
                  <a:pt x="6929041" y="3371333"/>
                </a:cubicBezTo>
                <a:cubicBezTo>
                  <a:pt x="6903291" y="3416979"/>
                  <a:pt x="6873864" y="3458560"/>
                  <a:pt x="6842183" y="3496813"/>
                </a:cubicBezTo>
                <a:lnTo>
                  <a:pt x="6752598" y="3590980"/>
                </a:lnTo>
                <a:lnTo>
                  <a:pt x="6636435" y="3689350"/>
                </a:lnTo>
                <a:lnTo>
                  <a:pt x="6534262" y="3751543"/>
                </a:lnTo>
                <a:cubicBezTo>
                  <a:pt x="6461450" y="3788383"/>
                  <a:pt x="6386122" y="3811941"/>
                  <a:pt x="6311623" y="3821071"/>
                </a:cubicBezTo>
                <a:cubicBezTo>
                  <a:pt x="6276293" y="3821071"/>
                  <a:pt x="6240237" y="3825901"/>
                  <a:pt x="6205393" y="3821425"/>
                </a:cubicBezTo>
                <a:cubicBezTo>
                  <a:pt x="6173378" y="3816949"/>
                  <a:pt x="6144192" y="3800928"/>
                  <a:pt x="6113794" y="3789856"/>
                </a:cubicBezTo>
                <a:cubicBezTo>
                  <a:pt x="6049199" y="3766885"/>
                  <a:pt x="6001500" y="3706693"/>
                  <a:pt x="5957763" y="3645087"/>
                </a:cubicBezTo>
                <a:cubicBezTo>
                  <a:pt x="5909660" y="3583952"/>
                  <a:pt x="5886294" y="3495606"/>
                  <a:pt x="5871500" y="3407024"/>
                </a:cubicBezTo>
                <a:cubicBezTo>
                  <a:pt x="5863092" y="3348127"/>
                  <a:pt x="5850885" y="3290408"/>
                  <a:pt x="5850157" y="3228802"/>
                </a:cubicBezTo>
                <a:cubicBezTo>
                  <a:pt x="5850400" y="3053642"/>
                  <a:pt x="5852987" y="2878010"/>
                  <a:pt x="5855735" y="2702379"/>
                </a:cubicBezTo>
                <a:cubicBezTo>
                  <a:pt x="5857594" y="2606377"/>
                  <a:pt x="5854684" y="2511200"/>
                  <a:pt x="5851694" y="2416140"/>
                </a:cubicBezTo>
                <a:cubicBezTo>
                  <a:pt x="5851046" y="2390579"/>
                  <a:pt x="5850480" y="2364900"/>
                  <a:pt x="5849753" y="2339220"/>
                </a:cubicBezTo>
                <a:cubicBezTo>
                  <a:pt x="5734872" y="2584115"/>
                  <a:pt x="5634056" y="2840199"/>
                  <a:pt x="5526775" y="3089687"/>
                </a:cubicBezTo>
                <a:cubicBezTo>
                  <a:pt x="5457490" y="3249062"/>
                  <a:pt x="5393056" y="3412090"/>
                  <a:pt x="5318032" y="3567460"/>
                </a:cubicBezTo>
                <a:cubicBezTo>
                  <a:pt x="5246403" y="3703512"/>
                  <a:pt x="5166607" y="3834736"/>
                  <a:pt x="5075333" y="3948996"/>
                </a:cubicBezTo>
                <a:cubicBezTo>
                  <a:pt x="5025128" y="4008364"/>
                  <a:pt x="4978641" y="4074447"/>
                  <a:pt x="4924556" y="4127219"/>
                </a:cubicBezTo>
                <a:cubicBezTo>
                  <a:pt x="4833929" y="4221924"/>
                  <a:pt x="4736267" y="4300730"/>
                  <a:pt x="4635048" y="4368343"/>
                </a:cubicBezTo>
                <a:cubicBezTo>
                  <a:pt x="4545875" y="4421704"/>
                  <a:pt x="4453550" y="4465759"/>
                  <a:pt x="4359931" y="4482250"/>
                </a:cubicBezTo>
                <a:lnTo>
                  <a:pt x="4263401" y="4484960"/>
                </a:lnTo>
                <a:cubicBezTo>
                  <a:pt x="4105994" y="4489435"/>
                  <a:pt x="4027817" y="4304380"/>
                  <a:pt x="3999117" y="4107900"/>
                </a:cubicBezTo>
                <a:cubicBezTo>
                  <a:pt x="3982786" y="3996350"/>
                  <a:pt x="3980765" y="3880086"/>
                  <a:pt x="3984242" y="3763234"/>
                </a:cubicBezTo>
                <a:cubicBezTo>
                  <a:pt x="3985940" y="3624473"/>
                  <a:pt x="3992407" y="3485004"/>
                  <a:pt x="4001623" y="3345301"/>
                </a:cubicBezTo>
                <a:cubicBezTo>
                  <a:pt x="4006959" y="3276980"/>
                  <a:pt x="4012699" y="3208542"/>
                  <a:pt x="4018520" y="3140220"/>
                </a:cubicBezTo>
                <a:cubicBezTo>
                  <a:pt x="3985453" y="3241170"/>
                  <a:pt x="3952307" y="3342120"/>
                  <a:pt x="3918918" y="3442952"/>
                </a:cubicBezTo>
                <a:cubicBezTo>
                  <a:pt x="3863701" y="3611397"/>
                  <a:pt x="3803389" y="3777369"/>
                  <a:pt x="3739925" y="3941692"/>
                </a:cubicBezTo>
                <a:cubicBezTo>
                  <a:pt x="3602570" y="4297548"/>
                  <a:pt x="3480251" y="4629021"/>
                  <a:pt x="3266332" y="4905602"/>
                </a:cubicBezTo>
                <a:cubicBezTo>
                  <a:pt x="3060904" y="5171229"/>
                  <a:pt x="2795488" y="5377722"/>
                  <a:pt x="2513418" y="5349452"/>
                </a:cubicBezTo>
                <a:cubicBezTo>
                  <a:pt x="2339681" y="5332135"/>
                  <a:pt x="2280583" y="5075815"/>
                  <a:pt x="2277187" y="4857072"/>
                </a:cubicBezTo>
                <a:cubicBezTo>
                  <a:pt x="2271851" y="4510050"/>
                  <a:pt x="2288263" y="4162439"/>
                  <a:pt x="2326260" y="3819775"/>
                </a:cubicBezTo>
                <a:cubicBezTo>
                  <a:pt x="2310617" y="3866819"/>
                  <a:pt x="2212992" y="4271266"/>
                  <a:pt x="2048658" y="4760224"/>
                </a:cubicBezTo>
                <a:lnTo>
                  <a:pt x="1996876" y="4908063"/>
                </a:lnTo>
                <a:close/>
              </a:path>
            </a:pathLst>
          </a:custGeom>
          <a:gradFill>
            <a:gsLst>
              <a:gs pos="0">
                <a:srgbClr val="E3E3E3"/>
              </a:gs>
              <a:gs pos="50000">
                <a:srgbClr val="E5E5E5"/>
              </a:gs>
              <a:gs pos="75000">
                <a:srgbClr val="ECECEC"/>
              </a:gs>
              <a:gs pos="95000">
                <a:srgbClr val="FAFAFA"/>
              </a:gs>
              <a:gs pos="100000">
                <a:srgbClr val="FFFFFF"/>
              </a:gs>
            </a:gsLst>
            <a:lin ang="13500000" scaled="1"/>
          </a:gradFill>
          <a:ln w="6729" cap="flat">
            <a:noFill/>
            <a:prstDash val="solid"/>
            <a:miter/>
          </a:ln>
        </p:spPr>
        <p:txBody>
          <a:bodyPr rtlCol="0" anchor="ctr"/>
          <a:lstStyle/>
          <a:p>
            <a:endParaRPr lang="en-US"/>
          </a:p>
        </p:txBody>
      </p:sp>
      <p:sp>
        <p:nvSpPr>
          <p:cNvPr id="7" name="Page Number">
            <a:extLst>
              <a:ext uri="{FF2B5EF4-FFF2-40B4-BE49-F238E27FC236}">
                <a16:creationId xmlns:a16="http://schemas.microsoft.com/office/drawing/2014/main" id="{D54D6AB9-BB50-7A8E-96E0-70DFABB05129}"/>
              </a:ext>
            </a:extLst>
          </p:cNvPr>
          <p:cNvSpPr txBox="1"/>
          <p:nvPr userDrawn="1"/>
        </p:nvSpPr>
        <p:spPr>
          <a:xfrm>
            <a:off x="11233601" y="6525344"/>
            <a:ext cx="406400" cy="141577"/>
          </a:xfrm>
          <a:prstGeom prst="rect">
            <a:avLst/>
          </a:prstGeom>
          <a:noFill/>
        </p:spPr>
        <p:txBody>
          <a:bodyPr vert="horz" wrap="square" lIns="0" tIns="0" rIns="0" bIns="0" rtlCol="0">
            <a:noAutofit/>
          </a:bodyPr>
          <a:lstStyle/>
          <a:p>
            <a:pPr algn="r">
              <a:lnSpc>
                <a:spcPct val="100000"/>
              </a:lnSpc>
              <a:spcAft>
                <a:spcPct val="0"/>
              </a:spcAft>
            </a:pPr>
            <a:fld id="{28EFE765-FF9D-4A30-9EA2-0EADEF4E4456}" type="slidenum">
              <a:rPr lang="en-GB" sz="900" kern="1200" baseline="0">
                <a:solidFill>
                  <a:schemeClr val="tx1"/>
                </a:solidFill>
                <a:latin typeface="+mn-lt"/>
                <a:ea typeface="+mn-ea"/>
                <a:cs typeface="+mn-cs"/>
              </a:rPr>
              <a:pPr algn="r">
                <a:lnSpc>
                  <a:spcPct val="100000"/>
                </a:lnSpc>
                <a:spcAft>
                  <a:spcPct val="0"/>
                </a:spcAft>
              </a:pPr>
              <a:t>‹#›</a:t>
            </a:fld>
            <a:endParaRPr lang="en-GB" sz="900" kern="1200" baseline="0">
              <a:solidFill>
                <a:schemeClr val="tx1"/>
              </a:solidFill>
              <a:latin typeface="+mn-lt"/>
              <a:ea typeface="+mn-ea"/>
              <a:cs typeface="+mn-cs"/>
            </a:endParaRPr>
          </a:p>
        </p:txBody>
      </p:sp>
      <p:sp>
        <p:nvSpPr>
          <p:cNvPr id="2" name="Title 1">
            <a:extLst>
              <a:ext uri="{FF2B5EF4-FFF2-40B4-BE49-F238E27FC236}">
                <a16:creationId xmlns:a16="http://schemas.microsoft.com/office/drawing/2014/main" id="{FA12A26B-B15B-78FA-A387-E9C046AE6BA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614214520"/>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Swoosh">
    <p:bg>
      <p:bgPr>
        <a:solidFill>
          <a:schemeClr val="bg1"/>
        </a:solidFill>
        <a:effectLst/>
      </p:bgPr>
    </p:bg>
    <p:spTree>
      <p:nvGrpSpPr>
        <p:cNvPr id="1" name=""/>
        <p:cNvGrpSpPr/>
        <p:nvPr/>
      </p:nvGrpSpPr>
      <p:grpSpPr>
        <a:xfrm>
          <a:off x="0" y="0"/>
          <a:ext cx="0" cy="0"/>
          <a:chOff x="0" y="0"/>
          <a:chExt cx="0" cy="0"/>
        </a:xfrm>
      </p:grpSpPr>
      <p:sp>
        <p:nvSpPr>
          <p:cNvPr id="11" name="Gradient Background">
            <a:extLst>
              <a:ext uri="{FF2B5EF4-FFF2-40B4-BE49-F238E27FC236}">
                <a16:creationId xmlns:a16="http://schemas.microsoft.com/office/drawing/2014/main" id="{7BDE401D-4346-E214-A278-26C52B091835}"/>
              </a:ext>
            </a:extLst>
          </p:cNvPr>
          <p:cNvSpPr/>
          <p:nvPr userDrawn="1"/>
        </p:nvSpPr>
        <p:spPr>
          <a:xfrm>
            <a:off x="0" y="0"/>
            <a:ext cx="12192000" cy="6858001"/>
          </a:xfrm>
          <a:prstGeom prst="rect">
            <a:avLst/>
          </a:prstGeom>
          <a:gradFill flip="none" rotWithShape="1">
            <a:gsLst>
              <a:gs pos="0">
                <a:schemeClr val="bg1"/>
              </a:gs>
              <a:gs pos="100000">
                <a:schemeClr val="bg2"/>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T"/>
          </a:p>
        </p:txBody>
      </p:sp>
      <p:sp>
        <p:nvSpPr>
          <p:cNvPr id="12" name="Squiggle">
            <a:extLst>
              <a:ext uri="{FF2B5EF4-FFF2-40B4-BE49-F238E27FC236}">
                <a16:creationId xmlns:a16="http://schemas.microsoft.com/office/drawing/2014/main" id="{92B22213-A051-71E7-9A41-11A3E82568DA}"/>
              </a:ext>
            </a:extLst>
          </p:cNvPr>
          <p:cNvSpPr/>
          <p:nvPr userDrawn="1"/>
        </p:nvSpPr>
        <p:spPr bwMode="ltGray">
          <a:xfrm rot="8762903">
            <a:off x="-918620" y="638750"/>
            <a:ext cx="13864613" cy="6245410"/>
          </a:xfrm>
          <a:custGeom>
            <a:avLst/>
            <a:gdLst>
              <a:gd name="connsiteX0" fmla="*/ 1075189 w 6958630"/>
              <a:gd name="connsiteY0" fmla="*/ 3819662 h 5352044"/>
              <a:gd name="connsiteX1" fmla="*/ 0 w 6958630"/>
              <a:gd name="connsiteY1" fmla="*/ 2549993 h 5352044"/>
              <a:gd name="connsiteX2" fmla="*/ 273834 w 6958630"/>
              <a:gd name="connsiteY2" fmla="*/ 1601357 h 5352044"/>
              <a:gd name="connsiteX3" fmla="*/ 455464 w 6958630"/>
              <a:gd name="connsiteY3" fmla="*/ 992346 h 5352044"/>
              <a:gd name="connsiteX4" fmla="*/ 482058 w 6958630"/>
              <a:gd name="connsiteY4" fmla="*/ 912917 h 5352044"/>
              <a:gd name="connsiteX5" fmla="*/ 1560103 w 6958630"/>
              <a:gd name="connsiteY5" fmla="*/ 0 h 5352044"/>
              <a:gd name="connsiteX6" fmla="*/ 1563049 w 6958630"/>
              <a:gd name="connsiteY6" fmla="*/ 19661 h 5352044"/>
              <a:gd name="connsiteX7" fmla="*/ 1535672 w 6958630"/>
              <a:gd name="connsiteY7" fmla="*/ 208675 h 5352044"/>
              <a:gd name="connsiteX8" fmla="*/ 1431946 w 6958630"/>
              <a:gd name="connsiteY8" fmla="*/ 705650 h 5352044"/>
              <a:gd name="connsiteX9" fmla="*/ 1308739 w 6958630"/>
              <a:gd name="connsiteY9" fmla="*/ 1469663 h 5352044"/>
              <a:gd name="connsiteX10" fmla="*/ 1089432 w 6958630"/>
              <a:gd name="connsiteY10" fmla="*/ 3521397 h 5352044"/>
              <a:gd name="connsiteX11" fmla="*/ 1075189 w 6958630"/>
              <a:gd name="connsiteY11" fmla="*/ 3819662 h 5352044"/>
              <a:gd name="connsiteX12" fmla="*/ 1996876 w 6958630"/>
              <a:gd name="connsiteY12" fmla="*/ 4908063 h 5352044"/>
              <a:gd name="connsiteX13" fmla="*/ 1398177 w 6958630"/>
              <a:gd name="connsiteY13" fmla="*/ 4201072 h 5352044"/>
              <a:gd name="connsiteX14" fmla="*/ 1590566 w 6958630"/>
              <a:gd name="connsiteY14" fmla="*/ 3604919 h 5352044"/>
              <a:gd name="connsiteX15" fmla="*/ 1974502 w 6958630"/>
              <a:gd name="connsiteY15" fmla="*/ 2496593 h 5352044"/>
              <a:gd name="connsiteX16" fmla="*/ 2349059 w 6958630"/>
              <a:gd name="connsiteY16" fmla="*/ 1514660 h 5352044"/>
              <a:gd name="connsiteX17" fmla="*/ 2474209 w 6958630"/>
              <a:gd name="connsiteY17" fmla="*/ 1195792 h 5352044"/>
              <a:gd name="connsiteX18" fmla="*/ 2595638 w 6958630"/>
              <a:gd name="connsiteY18" fmla="*/ 980346 h 5352044"/>
              <a:gd name="connsiteX19" fmla="*/ 3160829 w 6958630"/>
              <a:gd name="connsiteY19" fmla="*/ 512585 h 5352044"/>
              <a:gd name="connsiteX20" fmla="*/ 3435866 w 6958630"/>
              <a:gd name="connsiteY20" fmla="*/ 585618 h 5352044"/>
              <a:gd name="connsiteX21" fmla="*/ 3450660 w 6958630"/>
              <a:gd name="connsiteY21" fmla="*/ 838639 h 5352044"/>
              <a:gd name="connsiteX22" fmla="*/ 3404013 w 6958630"/>
              <a:gd name="connsiteY22" fmla="*/ 1499936 h 5352044"/>
              <a:gd name="connsiteX23" fmla="*/ 3313870 w 6958630"/>
              <a:gd name="connsiteY23" fmla="*/ 2850918 h 5352044"/>
              <a:gd name="connsiteX24" fmla="*/ 3369572 w 6958630"/>
              <a:gd name="connsiteY24" fmla="*/ 2686006 h 5352044"/>
              <a:gd name="connsiteX25" fmla="*/ 3706860 w 6958630"/>
              <a:gd name="connsiteY25" fmla="*/ 1716324 h 5352044"/>
              <a:gd name="connsiteX26" fmla="*/ 3936380 w 6958630"/>
              <a:gd name="connsiteY26" fmla="*/ 1155977 h 5352044"/>
              <a:gd name="connsiteX27" fmla="*/ 4337132 w 6958630"/>
              <a:gd name="connsiteY27" fmla="*/ 522126 h 5352044"/>
              <a:gd name="connsiteX28" fmla="*/ 4436557 w 6958630"/>
              <a:gd name="connsiteY28" fmla="*/ 425574 h 5352044"/>
              <a:gd name="connsiteX29" fmla="*/ 4508920 w 6958630"/>
              <a:gd name="connsiteY29" fmla="*/ 367382 h 5352044"/>
              <a:gd name="connsiteX30" fmla="*/ 5115640 w 6958630"/>
              <a:gd name="connsiteY30" fmla="*/ 1083845 h 5352044"/>
              <a:gd name="connsiteX31" fmla="*/ 5115018 w 6958630"/>
              <a:gd name="connsiteY31" fmla="*/ 1096653 h 5352044"/>
              <a:gd name="connsiteX32" fmla="*/ 5091987 w 6958630"/>
              <a:gd name="connsiteY32" fmla="*/ 1380611 h 5352044"/>
              <a:gd name="connsiteX33" fmla="*/ 5018983 w 6958630"/>
              <a:gd name="connsiteY33" fmla="*/ 2135554 h 5352044"/>
              <a:gd name="connsiteX34" fmla="*/ 4977834 w 6958630"/>
              <a:gd name="connsiteY34" fmla="*/ 2587648 h 5352044"/>
              <a:gd name="connsiteX35" fmla="*/ 5285289 w 6958630"/>
              <a:gd name="connsiteY35" fmla="*/ 2003389 h 5352044"/>
              <a:gd name="connsiteX36" fmla="*/ 5453822 w 6958630"/>
              <a:gd name="connsiteY36" fmla="*/ 1744212 h 5352044"/>
              <a:gd name="connsiteX37" fmla="*/ 5559908 w 6958630"/>
              <a:gd name="connsiteY37" fmla="*/ 1608472 h 5352044"/>
              <a:gd name="connsiteX38" fmla="*/ 6798419 w 6958630"/>
              <a:gd name="connsiteY38" fmla="*/ 3071005 h 5352044"/>
              <a:gd name="connsiteX39" fmla="*/ 6904383 w 6958630"/>
              <a:gd name="connsiteY39" fmla="*/ 3276626 h 5352044"/>
              <a:gd name="connsiteX40" fmla="*/ 6958630 w 6958630"/>
              <a:gd name="connsiteY40" fmla="*/ 3303366 h 5352044"/>
              <a:gd name="connsiteX41" fmla="*/ 6929041 w 6958630"/>
              <a:gd name="connsiteY41" fmla="*/ 3371333 h 5352044"/>
              <a:gd name="connsiteX42" fmla="*/ 6842183 w 6958630"/>
              <a:gd name="connsiteY42" fmla="*/ 3496813 h 5352044"/>
              <a:gd name="connsiteX43" fmla="*/ 6752598 w 6958630"/>
              <a:gd name="connsiteY43" fmla="*/ 3590980 h 5352044"/>
              <a:gd name="connsiteX44" fmla="*/ 6636435 w 6958630"/>
              <a:gd name="connsiteY44" fmla="*/ 3689350 h 5352044"/>
              <a:gd name="connsiteX45" fmla="*/ 6534262 w 6958630"/>
              <a:gd name="connsiteY45" fmla="*/ 3751543 h 5352044"/>
              <a:gd name="connsiteX46" fmla="*/ 6311623 w 6958630"/>
              <a:gd name="connsiteY46" fmla="*/ 3821071 h 5352044"/>
              <a:gd name="connsiteX47" fmla="*/ 6205393 w 6958630"/>
              <a:gd name="connsiteY47" fmla="*/ 3821425 h 5352044"/>
              <a:gd name="connsiteX48" fmla="*/ 6113794 w 6958630"/>
              <a:gd name="connsiteY48" fmla="*/ 3789856 h 5352044"/>
              <a:gd name="connsiteX49" fmla="*/ 5957763 w 6958630"/>
              <a:gd name="connsiteY49" fmla="*/ 3645087 h 5352044"/>
              <a:gd name="connsiteX50" fmla="*/ 5871500 w 6958630"/>
              <a:gd name="connsiteY50" fmla="*/ 3407024 h 5352044"/>
              <a:gd name="connsiteX51" fmla="*/ 5850157 w 6958630"/>
              <a:gd name="connsiteY51" fmla="*/ 3228802 h 5352044"/>
              <a:gd name="connsiteX52" fmla="*/ 5855735 w 6958630"/>
              <a:gd name="connsiteY52" fmla="*/ 2702379 h 5352044"/>
              <a:gd name="connsiteX53" fmla="*/ 5851694 w 6958630"/>
              <a:gd name="connsiteY53" fmla="*/ 2416140 h 5352044"/>
              <a:gd name="connsiteX54" fmla="*/ 5849753 w 6958630"/>
              <a:gd name="connsiteY54" fmla="*/ 2339220 h 5352044"/>
              <a:gd name="connsiteX55" fmla="*/ 5526775 w 6958630"/>
              <a:gd name="connsiteY55" fmla="*/ 3089687 h 5352044"/>
              <a:gd name="connsiteX56" fmla="*/ 5318032 w 6958630"/>
              <a:gd name="connsiteY56" fmla="*/ 3567460 h 5352044"/>
              <a:gd name="connsiteX57" fmla="*/ 5075333 w 6958630"/>
              <a:gd name="connsiteY57" fmla="*/ 3948996 h 5352044"/>
              <a:gd name="connsiteX58" fmla="*/ 4924556 w 6958630"/>
              <a:gd name="connsiteY58" fmla="*/ 4127219 h 5352044"/>
              <a:gd name="connsiteX59" fmla="*/ 4635048 w 6958630"/>
              <a:gd name="connsiteY59" fmla="*/ 4368343 h 5352044"/>
              <a:gd name="connsiteX60" fmla="*/ 4359931 w 6958630"/>
              <a:gd name="connsiteY60" fmla="*/ 4482250 h 5352044"/>
              <a:gd name="connsiteX61" fmla="*/ 4263401 w 6958630"/>
              <a:gd name="connsiteY61" fmla="*/ 4484960 h 5352044"/>
              <a:gd name="connsiteX62" fmla="*/ 3999117 w 6958630"/>
              <a:gd name="connsiteY62" fmla="*/ 4107900 h 5352044"/>
              <a:gd name="connsiteX63" fmla="*/ 3984242 w 6958630"/>
              <a:gd name="connsiteY63" fmla="*/ 3763234 h 5352044"/>
              <a:gd name="connsiteX64" fmla="*/ 4001623 w 6958630"/>
              <a:gd name="connsiteY64" fmla="*/ 3345301 h 5352044"/>
              <a:gd name="connsiteX65" fmla="*/ 4018520 w 6958630"/>
              <a:gd name="connsiteY65" fmla="*/ 3140220 h 5352044"/>
              <a:gd name="connsiteX66" fmla="*/ 3918918 w 6958630"/>
              <a:gd name="connsiteY66" fmla="*/ 3442952 h 5352044"/>
              <a:gd name="connsiteX67" fmla="*/ 3739925 w 6958630"/>
              <a:gd name="connsiteY67" fmla="*/ 3941692 h 5352044"/>
              <a:gd name="connsiteX68" fmla="*/ 3266332 w 6958630"/>
              <a:gd name="connsiteY68" fmla="*/ 4905602 h 5352044"/>
              <a:gd name="connsiteX69" fmla="*/ 2513418 w 6958630"/>
              <a:gd name="connsiteY69" fmla="*/ 5349452 h 5352044"/>
              <a:gd name="connsiteX70" fmla="*/ 2277187 w 6958630"/>
              <a:gd name="connsiteY70" fmla="*/ 4857072 h 5352044"/>
              <a:gd name="connsiteX71" fmla="*/ 2326260 w 6958630"/>
              <a:gd name="connsiteY71" fmla="*/ 3819775 h 5352044"/>
              <a:gd name="connsiteX72" fmla="*/ 2048658 w 6958630"/>
              <a:gd name="connsiteY72" fmla="*/ 4760224 h 5352044"/>
              <a:gd name="connsiteX73" fmla="*/ 1996876 w 6958630"/>
              <a:gd name="connsiteY73" fmla="*/ 4908063 h 5352044"/>
              <a:gd name="connsiteX74" fmla="*/ 1996876 w 6958630"/>
              <a:gd name="connsiteY74" fmla="*/ 4908063 h 5352044"/>
              <a:gd name="connsiteX75" fmla="*/ 1996876 w 6958630"/>
              <a:gd name="connsiteY75" fmla="*/ 4908063 h 5352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6958630" h="5352044">
                <a:moveTo>
                  <a:pt x="1075189" y="3819662"/>
                </a:moveTo>
                <a:lnTo>
                  <a:pt x="0" y="2549993"/>
                </a:lnTo>
                <a:lnTo>
                  <a:pt x="273834" y="1601357"/>
                </a:lnTo>
                <a:cubicBezTo>
                  <a:pt x="334145" y="1401224"/>
                  <a:pt x="392071" y="1194731"/>
                  <a:pt x="455464" y="992346"/>
                </a:cubicBezTo>
                <a:lnTo>
                  <a:pt x="482058" y="912917"/>
                </a:lnTo>
                <a:lnTo>
                  <a:pt x="1560103" y="0"/>
                </a:lnTo>
                <a:lnTo>
                  <a:pt x="1563049" y="19661"/>
                </a:lnTo>
                <a:cubicBezTo>
                  <a:pt x="1562735" y="79603"/>
                  <a:pt x="1547759" y="145008"/>
                  <a:pt x="1535672" y="208675"/>
                </a:cubicBezTo>
                <a:cubicBezTo>
                  <a:pt x="1503981" y="375590"/>
                  <a:pt x="1464447" y="539089"/>
                  <a:pt x="1431946" y="705650"/>
                </a:cubicBezTo>
                <a:cubicBezTo>
                  <a:pt x="1382793" y="957376"/>
                  <a:pt x="1338086" y="1211340"/>
                  <a:pt x="1308739" y="1469663"/>
                </a:cubicBezTo>
                <a:cubicBezTo>
                  <a:pt x="1231248" y="2152398"/>
                  <a:pt x="1132111" y="2839043"/>
                  <a:pt x="1089432" y="3521397"/>
                </a:cubicBezTo>
                <a:lnTo>
                  <a:pt x="1075189" y="3819662"/>
                </a:lnTo>
                <a:close/>
                <a:moveTo>
                  <a:pt x="1996876" y="4908063"/>
                </a:moveTo>
                <a:lnTo>
                  <a:pt x="1398177" y="4201072"/>
                </a:lnTo>
                <a:lnTo>
                  <a:pt x="1590566" y="3604919"/>
                </a:lnTo>
                <a:cubicBezTo>
                  <a:pt x="1715230" y="3233985"/>
                  <a:pt x="1843451" y="2864347"/>
                  <a:pt x="1974502" y="2496593"/>
                </a:cubicBezTo>
                <a:cubicBezTo>
                  <a:pt x="2096579" y="2167829"/>
                  <a:pt x="2219221" y="1839301"/>
                  <a:pt x="2349059" y="1514660"/>
                </a:cubicBezTo>
                <a:cubicBezTo>
                  <a:pt x="2389159" y="1407350"/>
                  <a:pt x="2429178" y="1300275"/>
                  <a:pt x="2474209" y="1195792"/>
                </a:cubicBezTo>
                <a:cubicBezTo>
                  <a:pt x="2506143" y="1116870"/>
                  <a:pt x="2552548" y="1049491"/>
                  <a:pt x="2595638" y="980346"/>
                </a:cubicBezTo>
                <a:cubicBezTo>
                  <a:pt x="2735420" y="756066"/>
                  <a:pt x="2952975" y="554992"/>
                  <a:pt x="3160829" y="512585"/>
                </a:cubicBezTo>
                <a:cubicBezTo>
                  <a:pt x="3221463" y="500216"/>
                  <a:pt x="3408378" y="448388"/>
                  <a:pt x="3435866" y="585618"/>
                </a:cubicBezTo>
                <a:cubicBezTo>
                  <a:pt x="3451954" y="666424"/>
                  <a:pt x="3452762" y="752296"/>
                  <a:pt x="3450660" y="838639"/>
                </a:cubicBezTo>
                <a:cubicBezTo>
                  <a:pt x="3439018" y="1058797"/>
                  <a:pt x="3418080" y="1279661"/>
                  <a:pt x="3404013" y="1499936"/>
                </a:cubicBezTo>
                <a:cubicBezTo>
                  <a:pt x="3374990" y="1950264"/>
                  <a:pt x="3346451" y="2400472"/>
                  <a:pt x="3313870" y="2850918"/>
                </a:cubicBezTo>
                <a:cubicBezTo>
                  <a:pt x="3332222" y="2798028"/>
                  <a:pt x="3350735" y="2741958"/>
                  <a:pt x="3369572" y="2686006"/>
                </a:cubicBezTo>
                <a:cubicBezTo>
                  <a:pt x="3474752" y="2359481"/>
                  <a:pt x="3593999" y="2039316"/>
                  <a:pt x="3706860" y="1716324"/>
                </a:cubicBezTo>
                <a:cubicBezTo>
                  <a:pt x="3783340" y="1529502"/>
                  <a:pt x="3858769" y="1342092"/>
                  <a:pt x="3936380" y="1155977"/>
                </a:cubicBezTo>
                <a:cubicBezTo>
                  <a:pt x="4039217" y="901659"/>
                  <a:pt x="4175037" y="691750"/>
                  <a:pt x="4337132" y="522126"/>
                </a:cubicBezTo>
                <a:cubicBezTo>
                  <a:pt x="4369187" y="488614"/>
                  <a:pt x="4402385" y="456103"/>
                  <a:pt x="4436557" y="425574"/>
                </a:cubicBezTo>
                <a:lnTo>
                  <a:pt x="4508920" y="367382"/>
                </a:lnTo>
                <a:lnTo>
                  <a:pt x="5115640" y="1083845"/>
                </a:lnTo>
                <a:cubicBezTo>
                  <a:pt x="5115433" y="1088114"/>
                  <a:pt x="5115225" y="1092384"/>
                  <a:pt x="5115018" y="1096653"/>
                </a:cubicBezTo>
                <a:cubicBezTo>
                  <a:pt x="5108399" y="1191256"/>
                  <a:pt x="5100234" y="1285963"/>
                  <a:pt x="5091987" y="1380611"/>
                </a:cubicBezTo>
                <a:cubicBezTo>
                  <a:pt x="5067734" y="1632219"/>
                  <a:pt x="5042105" y="1883946"/>
                  <a:pt x="5018983" y="2135554"/>
                </a:cubicBezTo>
                <a:cubicBezTo>
                  <a:pt x="5005644" y="2286213"/>
                  <a:pt x="4990608" y="2436988"/>
                  <a:pt x="4977834" y="2587648"/>
                </a:cubicBezTo>
                <a:cubicBezTo>
                  <a:pt x="5067734" y="2382804"/>
                  <a:pt x="5169275" y="2185970"/>
                  <a:pt x="5285289" y="2003389"/>
                </a:cubicBezTo>
                <a:cubicBezTo>
                  <a:pt x="5338404" y="1913394"/>
                  <a:pt x="5394693" y="1826992"/>
                  <a:pt x="5453822" y="1744212"/>
                </a:cubicBezTo>
                <a:lnTo>
                  <a:pt x="5559908" y="1608472"/>
                </a:lnTo>
                <a:lnTo>
                  <a:pt x="6798419" y="3071005"/>
                </a:lnTo>
                <a:cubicBezTo>
                  <a:pt x="7022498" y="3349031"/>
                  <a:pt x="6877681" y="3237899"/>
                  <a:pt x="6904383" y="3276626"/>
                </a:cubicBezTo>
                <a:cubicBezTo>
                  <a:pt x="6931085" y="3315353"/>
                  <a:pt x="6916024" y="3277333"/>
                  <a:pt x="6958630" y="3303366"/>
                </a:cubicBezTo>
                <a:cubicBezTo>
                  <a:pt x="6951435" y="3327514"/>
                  <a:pt x="6940360" y="3349895"/>
                  <a:pt x="6929041" y="3371333"/>
                </a:cubicBezTo>
                <a:cubicBezTo>
                  <a:pt x="6903291" y="3416979"/>
                  <a:pt x="6873864" y="3458560"/>
                  <a:pt x="6842183" y="3496813"/>
                </a:cubicBezTo>
                <a:lnTo>
                  <a:pt x="6752598" y="3590980"/>
                </a:lnTo>
                <a:lnTo>
                  <a:pt x="6636435" y="3689350"/>
                </a:lnTo>
                <a:lnTo>
                  <a:pt x="6534262" y="3751543"/>
                </a:lnTo>
                <a:cubicBezTo>
                  <a:pt x="6461450" y="3788383"/>
                  <a:pt x="6386122" y="3811941"/>
                  <a:pt x="6311623" y="3821071"/>
                </a:cubicBezTo>
                <a:cubicBezTo>
                  <a:pt x="6276293" y="3821071"/>
                  <a:pt x="6240237" y="3825901"/>
                  <a:pt x="6205393" y="3821425"/>
                </a:cubicBezTo>
                <a:cubicBezTo>
                  <a:pt x="6173378" y="3816949"/>
                  <a:pt x="6144192" y="3800928"/>
                  <a:pt x="6113794" y="3789856"/>
                </a:cubicBezTo>
                <a:cubicBezTo>
                  <a:pt x="6049199" y="3766885"/>
                  <a:pt x="6001500" y="3706693"/>
                  <a:pt x="5957763" y="3645087"/>
                </a:cubicBezTo>
                <a:cubicBezTo>
                  <a:pt x="5909660" y="3583952"/>
                  <a:pt x="5886294" y="3495606"/>
                  <a:pt x="5871500" y="3407024"/>
                </a:cubicBezTo>
                <a:cubicBezTo>
                  <a:pt x="5863092" y="3348127"/>
                  <a:pt x="5850885" y="3290408"/>
                  <a:pt x="5850157" y="3228802"/>
                </a:cubicBezTo>
                <a:cubicBezTo>
                  <a:pt x="5850400" y="3053642"/>
                  <a:pt x="5852987" y="2878010"/>
                  <a:pt x="5855735" y="2702379"/>
                </a:cubicBezTo>
                <a:cubicBezTo>
                  <a:pt x="5857594" y="2606377"/>
                  <a:pt x="5854684" y="2511200"/>
                  <a:pt x="5851694" y="2416140"/>
                </a:cubicBezTo>
                <a:cubicBezTo>
                  <a:pt x="5851046" y="2390579"/>
                  <a:pt x="5850480" y="2364900"/>
                  <a:pt x="5849753" y="2339220"/>
                </a:cubicBezTo>
                <a:cubicBezTo>
                  <a:pt x="5734872" y="2584115"/>
                  <a:pt x="5634056" y="2840199"/>
                  <a:pt x="5526775" y="3089687"/>
                </a:cubicBezTo>
                <a:cubicBezTo>
                  <a:pt x="5457490" y="3249062"/>
                  <a:pt x="5393056" y="3412090"/>
                  <a:pt x="5318032" y="3567460"/>
                </a:cubicBezTo>
                <a:cubicBezTo>
                  <a:pt x="5246403" y="3703512"/>
                  <a:pt x="5166607" y="3834736"/>
                  <a:pt x="5075333" y="3948996"/>
                </a:cubicBezTo>
                <a:cubicBezTo>
                  <a:pt x="5025128" y="4008364"/>
                  <a:pt x="4978641" y="4074447"/>
                  <a:pt x="4924556" y="4127219"/>
                </a:cubicBezTo>
                <a:cubicBezTo>
                  <a:pt x="4833929" y="4221924"/>
                  <a:pt x="4736267" y="4300730"/>
                  <a:pt x="4635048" y="4368343"/>
                </a:cubicBezTo>
                <a:cubicBezTo>
                  <a:pt x="4545875" y="4421704"/>
                  <a:pt x="4453550" y="4465759"/>
                  <a:pt x="4359931" y="4482250"/>
                </a:cubicBezTo>
                <a:lnTo>
                  <a:pt x="4263401" y="4484960"/>
                </a:lnTo>
                <a:cubicBezTo>
                  <a:pt x="4105994" y="4489435"/>
                  <a:pt x="4027817" y="4304380"/>
                  <a:pt x="3999117" y="4107900"/>
                </a:cubicBezTo>
                <a:cubicBezTo>
                  <a:pt x="3982786" y="3996350"/>
                  <a:pt x="3980765" y="3880086"/>
                  <a:pt x="3984242" y="3763234"/>
                </a:cubicBezTo>
                <a:cubicBezTo>
                  <a:pt x="3985940" y="3624473"/>
                  <a:pt x="3992407" y="3485004"/>
                  <a:pt x="4001623" y="3345301"/>
                </a:cubicBezTo>
                <a:cubicBezTo>
                  <a:pt x="4006959" y="3276980"/>
                  <a:pt x="4012699" y="3208542"/>
                  <a:pt x="4018520" y="3140220"/>
                </a:cubicBezTo>
                <a:cubicBezTo>
                  <a:pt x="3985453" y="3241170"/>
                  <a:pt x="3952307" y="3342120"/>
                  <a:pt x="3918918" y="3442952"/>
                </a:cubicBezTo>
                <a:cubicBezTo>
                  <a:pt x="3863701" y="3611397"/>
                  <a:pt x="3803389" y="3777369"/>
                  <a:pt x="3739925" y="3941692"/>
                </a:cubicBezTo>
                <a:cubicBezTo>
                  <a:pt x="3602570" y="4297548"/>
                  <a:pt x="3480251" y="4629021"/>
                  <a:pt x="3266332" y="4905602"/>
                </a:cubicBezTo>
                <a:cubicBezTo>
                  <a:pt x="3060904" y="5171229"/>
                  <a:pt x="2795488" y="5377722"/>
                  <a:pt x="2513418" y="5349452"/>
                </a:cubicBezTo>
                <a:cubicBezTo>
                  <a:pt x="2339681" y="5332135"/>
                  <a:pt x="2280583" y="5075815"/>
                  <a:pt x="2277187" y="4857072"/>
                </a:cubicBezTo>
                <a:cubicBezTo>
                  <a:pt x="2271851" y="4510050"/>
                  <a:pt x="2288263" y="4162439"/>
                  <a:pt x="2326260" y="3819775"/>
                </a:cubicBezTo>
                <a:cubicBezTo>
                  <a:pt x="2310617" y="3866819"/>
                  <a:pt x="2212992" y="4271266"/>
                  <a:pt x="2048658" y="4760224"/>
                </a:cubicBezTo>
                <a:lnTo>
                  <a:pt x="1996876" y="4908063"/>
                </a:lnTo>
                <a:close/>
              </a:path>
            </a:pathLst>
          </a:custGeom>
          <a:gradFill>
            <a:gsLst>
              <a:gs pos="0">
                <a:srgbClr val="E3E3E3"/>
              </a:gs>
              <a:gs pos="50000">
                <a:srgbClr val="E5E5E5"/>
              </a:gs>
              <a:gs pos="75000">
                <a:srgbClr val="ECECEC"/>
              </a:gs>
              <a:gs pos="95000">
                <a:srgbClr val="FAFAFA"/>
              </a:gs>
              <a:gs pos="100000">
                <a:srgbClr val="FFFFFF"/>
              </a:gs>
            </a:gsLst>
            <a:lin ang="13500000" scaled="1"/>
          </a:gradFill>
          <a:ln w="6729" cap="flat">
            <a:noFill/>
            <a:prstDash val="solid"/>
            <a:miter/>
          </a:ln>
        </p:spPr>
        <p:txBody>
          <a:bodyPr rtlCol="0" anchor="ctr"/>
          <a:lstStyle/>
          <a:p>
            <a:endParaRPr lang="en-US"/>
          </a:p>
        </p:txBody>
      </p:sp>
      <p:sp>
        <p:nvSpPr>
          <p:cNvPr id="10" name="Page Number">
            <a:extLst>
              <a:ext uri="{FF2B5EF4-FFF2-40B4-BE49-F238E27FC236}">
                <a16:creationId xmlns:a16="http://schemas.microsoft.com/office/drawing/2014/main" id="{B55B9341-9544-C158-D07A-111F9336852E}"/>
              </a:ext>
            </a:extLst>
          </p:cNvPr>
          <p:cNvSpPr txBox="1"/>
          <p:nvPr userDrawn="1"/>
        </p:nvSpPr>
        <p:spPr>
          <a:xfrm>
            <a:off x="11233601" y="6525344"/>
            <a:ext cx="406400" cy="141577"/>
          </a:xfrm>
          <a:prstGeom prst="rect">
            <a:avLst/>
          </a:prstGeom>
          <a:noFill/>
        </p:spPr>
        <p:txBody>
          <a:bodyPr vert="horz" wrap="square" lIns="0" tIns="0" rIns="0" bIns="0" rtlCol="0">
            <a:noAutofit/>
          </a:bodyPr>
          <a:lstStyle/>
          <a:p>
            <a:pPr algn="r">
              <a:lnSpc>
                <a:spcPct val="100000"/>
              </a:lnSpc>
              <a:spcAft>
                <a:spcPct val="0"/>
              </a:spcAft>
            </a:pPr>
            <a:fld id="{28EFE765-FF9D-4A30-9EA2-0EADEF4E4456}" type="slidenum">
              <a:rPr lang="en-GB" sz="900" kern="1200" baseline="0">
                <a:solidFill>
                  <a:schemeClr val="tx1"/>
                </a:solidFill>
                <a:latin typeface="+mn-lt"/>
                <a:ea typeface="+mn-ea"/>
                <a:cs typeface="+mn-cs"/>
              </a:rPr>
              <a:pPr algn="r">
                <a:lnSpc>
                  <a:spcPct val="100000"/>
                </a:lnSpc>
                <a:spcAft>
                  <a:spcPct val="0"/>
                </a:spcAft>
              </a:pPr>
              <a:t>‹#›</a:t>
            </a:fld>
            <a:endParaRPr lang="en-GB" sz="900" kern="1200" baseline="0">
              <a:solidFill>
                <a:schemeClr val="tx1"/>
              </a:solidFill>
              <a:latin typeface="+mn-lt"/>
              <a:ea typeface="+mn-ea"/>
              <a:cs typeface="+mn-cs"/>
            </a:endParaRPr>
          </a:p>
        </p:txBody>
      </p:sp>
      <p:sp>
        <p:nvSpPr>
          <p:cNvPr id="6" name="Content">
            <a:extLst>
              <a:ext uri="{FF2B5EF4-FFF2-40B4-BE49-F238E27FC236}">
                <a16:creationId xmlns:a16="http://schemas.microsoft.com/office/drawing/2014/main" id="{0CE39731-51F7-534C-C99E-3EF237C37E91}"/>
              </a:ext>
            </a:extLst>
          </p:cNvPr>
          <p:cNvSpPr>
            <a:spLocks noGrp="1"/>
          </p:cNvSpPr>
          <p:nvPr>
            <p:ph sz="quarter" idx="16"/>
          </p:nvPr>
        </p:nvSpPr>
        <p:spPr>
          <a:xfrm>
            <a:off x="552000" y="1700808"/>
            <a:ext cx="11088001" cy="43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2">
            <a:extLst>
              <a:ext uri="{FF2B5EF4-FFF2-40B4-BE49-F238E27FC236}">
                <a16:creationId xmlns:a16="http://schemas.microsoft.com/office/drawing/2014/main" id="{58824834-4FB9-36DE-58A3-BE0BA23407EF}"/>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178963159"/>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with light blue swish">
    <p:spTree>
      <p:nvGrpSpPr>
        <p:cNvPr id="1" name=""/>
        <p:cNvGrpSpPr/>
        <p:nvPr/>
      </p:nvGrpSpPr>
      <p:grpSpPr>
        <a:xfrm>
          <a:off x="0" y="0"/>
          <a:ext cx="0" cy="0"/>
          <a:chOff x="0" y="0"/>
          <a:chExt cx="0" cy="0"/>
        </a:xfrm>
      </p:grpSpPr>
      <p:sp>
        <p:nvSpPr>
          <p:cNvPr id="4" name="Squiggle">
            <a:extLst>
              <a:ext uri="{FF2B5EF4-FFF2-40B4-BE49-F238E27FC236}">
                <a16:creationId xmlns:a16="http://schemas.microsoft.com/office/drawing/2014/main" id="{BAF5E0ED-0333-392E-AB78-7C19A767D9DA}"/>
              </a:ext>
            </a:extLst>
          </p:cNvPr>
          <p:cNvSpPr/>
          <p:nvPr userDrawn="1"/>
        </p:nvSpPr>
        <p:spPr>
          <a:xfrm rot="4430537">
            <a:off x="2406828" y="-2403022"/>
            <a:ext cx="7944708" cy="13618868"/>
          </a:xfrm>
          <a:custGeom>
            <a:avLst/>
            <a:gdLst>
              <a:gd name="connsiteX0" fmla="*/ 0 w 7944708"/>
              <a:gd name="connsiteY0" fmla="*/ 4685805 h 13618868"/>
              <a:gd name="connsiteX1" fmla="*/ 1357604 w 7944708"/>
              <a:gd name="connsiteY1" fmla="*/ 0 h 13618868"/>
              <a:gd name="connsiteX2" fmla="*/ 4049990 w 7944708"/>
              <a:gd name="connsiteY2" fmla="*/ 780056 h 13618868"/>
              <a:gd name="connsiteX3" fmla="*/ 4162100 w 7944708"/>
              <a:gd name="connsiteY3" fmla="*/ 1058737 h 13618868"/>
              <a:gd name="connsiteX4" fmla="*/ 6321097 w 7944708"/>
              <a:gd name="connsiteY4" fmla="*/ 5355046 h 13618868"/>
              <a:gd name="connsiteX5" fmla="*/ 5623247 w 7944708"/>
              <a:gd name="connsiteY5" fmla="*/ 1545335 h 13618868"/>
              <a:gd name="connsiteX6" fmla="*/ 5602778 w 7944708"/>
              <a:gd name="connsiteY6" fmla="*/ 1229940 h 13618868"/>
              <a:gd name="connsiteX7" fmla="*/ 7944708 w 7944708"/>
              <a:gd name="connsiteY7" fmla="*/ 1908460 h 13618868"/>
              <a:gd name="connsiteX8" fmla="*/ 5453795 w 7944708"/>
              <a:gd name="connsiteY8" fmla="*/ 10505918 h 13618868"/>
              <a:gd name="connsiteX9" fmla="*/ 5088659 w 7944708"/>
              <a:gd name="connsiteY9" fmla="*/ 9925772 h 13618868"/>
              <a:gd name="connsiteX10" fmla="*/ 2348310 w 7944708"/>
              <a:gd name="connsiteY10" fmla="*/ 4969698 h 13618868"/>
              <a:gd name="connsiteX11" fmla="*/ 4916023 w 7944708"/>
              <a:gd name="connsiteY11" fmla="*/ 12050905 h 13618868"/>
              <a:gd name="connsiteX12" fmla="*/ 4969351 w 7944708"/>
              <a:gd name="connsiteY12" fmla="*/ 12177989 h 13618868"/>
              <a:gd name="connsiteX13" fmla="*/ 4551890 w 7944708"/>
              <a:gd name="connsiteY13" fmla="*/ 13618868 h 13618868"/>
              <a:gd name="connsiteX14" fmla="*/ 2127054 w 7944708"/>
              <a:gd name="connsiteY14" fmla="*/ 12916328 h 13618868"/>
              <a:gd name="connsiteX15" fmla="*/ 2070213 w 7944708"/>
              <a:gd name="connsiteY15" fmla="*/ 12724059 h 13618868"/>
              <a:gd name="connsiteX16" fmla="*/ 7671 w 7944708"/>
              <a:gd name="connsiteY16" fmla="*/ 4718907 h 13618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44707" h="13618868">
                <a:moveTo>
                  <a:pt x="0" y="4685805"/>
                </a:moveTo>
                <a:lnTo>
                  <a:pt x="1357604" y="0"/>
                </a:lnTo>
                <a:lnTo>
                  <a:pt x="4049990" y="780056"/>
                </a:lnTo>
                <a:lnTo>
                  <a:pt x="4162100" y="1058737"/>
                </a:lnTo>
                <a:cubicBezTo>
                  <a:pt x="4806345" y="2617724"/>
                  <a:pt x="5521223" y="4153526"/>
                  <a:pt x="6321097" y="5355046"/>
                </a:cubicBezTo>
                <a:cubicBezTo>
                  <a:pt x="6072429" y="4057350"/>
                  <a:pt x="5720718" y="2665455"/>
                  <a:pt x="5623247" y="1545335"/>
                </a:cubicBezTo>
                <a:lnTo>
                  <a:pt x="5602778" y="1229940"/>
                </a:lnTo>
                <a:lnTo>
                  <a:pt x="7944708" y="1908460"/>
                </a:lnTo>
                <a:lnTo>
                  <a:pt x="5453795" y="10505918"/>
                </a:lnTo>
                <a:lnTo>
                  <a:pt x="5088659" y="9925772"/>
                </a:lnTo>
                <a:cubicBezTo>
                  <a:pt x="4087604" y="8295081"/>
                  <a:pt x="3029733" y="6270664"/>
                  <a:pt x="2348310" y="4969698"/>
                </a:cubicBezTo>
                <a:cubicBezTo>
                  <a:pt x="2113685" y="4521756"/>
                  <a:pt x="3783862" y="9322882"/>
                  <a:pt x="4916023" y="12050905"/>
                </a:cubicBezTo>
                <a:lnTo>
                  <a:pt x="4969351" y="12177989"/>
                </a:lnTo>
                <a:lnTo>
                  <a:pt x="4551890" y="13618868"/>
                </a:lnTo>
                <a:lnTo>
                  <a:pt x="2127054" y="12916328"/>
                </a:lnTo>
                <a:lnTo>
                  <a:pt x="2070213" y="12724059"/>
                </a:lnTo>
                <a:cubicBezTo>
                  <a:pt x="1303556" y="10084950"/>
                  <a:pt x="552023" y="7053271"/>
                  <a:pt x="7671" y="4718907"/>
                </a:cubicBezTo>
                <a:close/>
              </a:path>
            </a:pathLst>
          </a:custGeom>
          <a:solidFill>
            <a:schemeClr val="accent3">
              <a:alpha val="20000"/>
            </a:schemeClr>
          </a:solidFill>
          <a:ln w="15187" cap="flat">
            <a:noFill/>
            <a:prstDash val="solid"/>
            <a:miter/>
          </a:ln>
        </p:spPr>
        <p:txBody>
          <a:bodyPr rtlCol="0" anchor="ctr"/>
          <a:lstStyle/>
          <a:p>
            <a:endParaRPr lang="en-US"/>
          </a:p>
        </p:txBody>
      </p:sp>
      <p:sp>
        <p:nvSpPr>
          <p:cNvPr id="13" name="Logo">
            <a:extLst>
              <a:ext uri="{FF2B5EF4-FFF2-40B4-BE49-F238E27FC236}">
                <a16:creationId xmlns:a16="http://schemas.microsoft.com/office/drawing/2014/main" id="{03C3DFE9-7B51-03ED-E3F6-9296D2ECF020}"/>
              </a:ext>
            </a:extLst>
          </p:cNvPr>
          <p:cNvSpPr/>
          <p:nvPr userDrawn="1"/>
        </p:nvSpPr>
        <p:spPr bwMode="black">
          <a:xfrm>
            <a:off x="9211095" y="767925"/>
            <a:ext cx="2442107" cy="660400"/>
          </a:xfrm>
          <a:custGeom>
            <a:avLst/>
            <a:gdLst>
              <a:gd name="connsiteX0" fmla="*/ 6897053 w 7750397"/>
              <a:gd name="connsiteY0" fmla="*/ 282131 h 2095880"/>
              <a:gd name="connsiteX1" fmla="*/ 6921151 w 7750397"/>
              <a:gd name="connsiteY1" fmla="*/ 306229 h 2095880"/>
              <a:gd name="connsiteX2" fmla="*/ 6921151 w 7750397"/>
              <a:gd name="connsiteY2" fmla="*/ 709708 h 2095880"/>
              <a:gd name="connsiteX3" fmla="*/ 6897053 w 7750397"/>
              <a:gd name="connsiteY3" fmla="*/ 733806 h 2095880"/>
              <a:gd name="connsiteX4" fmla="*/ 6493574 w 7750397"/>
              <a:gd name="connsiteY4" fmla="*/ 733806 h 2095880"/>
              <a:gd name="connsiteX5" fmla="*/ 6469475 w 7750397"/>
              <a:gd name="connsiteY5" fmla="*/ 709708 h 2095880"/>
              <a:gd name="connsiteX6" fmla="*/ 6469475 w 7750397"/>
              <a:gd name="connsiteY6" fmla="*/ 306229 h 2095880"/>
              <a:gd name="connsiteX7" fmla="*/ 6493574 w 7750397"/>
              <a:gd name="connsiteY7" fmla="*/ 282131 h 2095880"/>
              <a:gd name="connsiteX8" fmla="*/ 6897053 w 7750397"/>
              <a:gd name="connsiteY8" fmla="*/ 282131 h 2095880"/>
              <a:gd name="connsiteX9" fmla="*/ 7040594 w 7750397"/>
              <a:gd name="connsiteY9" fmla="*/ 829342 h 2095880"/>
              <a:gd name="connsiteX10" fmla="*/ 7016497 w 7750397"/>
              <a:gd name="connsiteY10" fmla="*/ 853345 h 2095880"/>
              <a:gd name="connsiteX11" fmla="*/ 7016497 w 7750397"/>
              <a:gd name="connsiteY11" fmla="*/ 1256919 h 2095880"/>
              <a:gd name="connsiteX12" fmla="*/ 7040594 w 7750397"/>
              <a:gd name="connsiteY12" fmla="*/ 1281017 h 2095880"/>
              <a:gd name="connsiteX13" fmla="*/ 7444073 w 7750397"/>
              <a:gd name="connsiteY13" fmla="*/ 1281017 h 2095880"/>
              <a:gd name="connsiteX14" fmla="*/ 7468077 w 7750397"/>
              <a:gd name="connsiteY14" fmla="*/ 1256919 h 2095880"/>
              <a:gd name="connsiteX15" fmla="*/ 7468077 w 7750397"/>
              <a:gd name="connsiteY15" fmla="*/ 853345 h 2095880"/>
              <a:gd name="connsiteX16" fmla="*/ 7444073 w 7750397"/>
              <a:gd name="connsiteY16" fmla="*/ 829342 h 2095880"/>
              <a:gd name="connsiteX17" fmla="*/ 7040594 w 7750397"/>
              <a:gd name="connsiteY17" fmla="*/ 829342 h 2095880"/>
              <a:gd name="connsiteX18" fmla="*/ 7750398 w 7750397"/>
              <a:gd name="connsiteY18" fmla="*/ 366998 h 2095880"/>
              <a:gd name="connsiteX19" fmla="*/ 7383304 w 7750397"/>
              <a:gd name="connsiteY19" fmla="*/ 0 h 2095880"/>
              <a:gd name="connsiteX20" fmla="*/ 7040309 w 7750397"/>
              <a:gd name="connsiteY20" fmla="*/ 0 h 2095880"/>
              <a:gd name="connsiteX21" fmla="*/ 7016211 w 7750397"/>
              <a:gd name="connsiteY21" fmla="*/ 24098 h 2095880"/>
              <a:gd name="connsiteX22" fmla="*/ 7016401 w 7750397"/>
              <a:gd name="connsiteY22" fmla="*/ 709708 h 2095880"/>
              <a:gd name="connsiteX23" fmla="*/ 7040499 w 7750397"/>
              <a:gd name="connsiteY23" fmla="*/ 733806 h 2095880"/>
              <a:gd name="connsiteX24" fmla="*/ 7726299 w 7750397"/>
              <a:gd name="connsiteY24" fmla="*/ 733806 h 2095880"/>
              <a:gd name="connsiteX25" fmla="*/ 7750398 w 7750397"/>
              <a:gd name="connsiteY25" fmla="*/ 709708 h 2095880"/>
              <a:gd name="connsiteX26" fmla="*/ 7750398 w 7750397"/>
              <a:gd name="connsiteY26" fmla="*/ 366998 h 2095880"/>
              <a:gd name="connsiteX27" fmla="*/ 6719602 w 7750397"/>
              <a:gd name="connsiteY27" fmla="*/ 829437 h 2095880"/>
              <a:gd name="connsiteX28" fmla="*/ 6695599 w 7750397"/>
              <a:gd name="connsiteY28" fmla="*/ 853440 h 2095880"/>
              <a:gd name="connsiteX29" fmla="*/ 6695599 w 7750397"/>
              <a:gd name="connsiteY29" fmla="*/ 1031177 h 2095880"/>
              <a:gd name="connsiteX30" fmla="*/ 6719602 w 7750397"/>
              <a:gd name="connsiteY30" fmla="*/ 1055275 h 2095880"/>
              <a:gd name="connsiteX31" fmla="*/ 6896957 w 7750397"/>
              <a:gd name="connsiteY31" fmla="*/ 1055275 h 2095880"/>
              <a:gd name="connsiteX32" fmla="*/ 6921056 w 7750397"/>
              <a:gd name="connsiteY32" fmla="*/ 1031272 h 2095880"/>
              <a:gd name="connsiteX33" fmla="*/ 6921056 w 7750397"/>
              <a:gd name="connsiteY33" fmla="*/ 853440 h 2095880"/>
              <a:gd name="connsiteX34" fmla="*/ 6896957 w 7750397"/>
              <a:gd name="connsiteY34" fmla="*/ 829437 h 2095880"/>
              <a:gd name="connsiteX35" fmla="*/ 6719602 w 7750397"/>
              <a:gd name="connsiteY35" fmla="*/ 829437 h 2095880"/>
              <a:gd name="connsiteX36" fmla="*/ 1851660 w 7750397"/>
              <a:gd name="connsiteY36" fmla="*/ 1069181 h 2095880"/>
              <a:gd name="connsiteX37" fmla="*/ 1712595 w 7750397"/>
              <a:gd name="connsiteY37" fmla="*/ 1099566 h 2095880"/>
              <a:gd name="connsiteX38" fmla="*/ 1599057 w 7750397"/>
              <a:gd name="connsiteY38" fmla="*/ 1194721 h 2095880"/>
              <a:gd name="connsiteX39" fmla="*/ 1508189 w 7750397"/>
              <a:gd name="connsiteY39" fmla="*/ 1100233 h 2095880"/>
              <a:gd name="connsiteX40" fmla="*/ 1387126 w 7750397"/>
              <a:gd name="connsiteY40" fmla="*/ 1070515 h 2095880"/>
              <a:gd name="connsiteX41" fmla="*/ 1251299 w 7750397"/>
              <a:gd name="connsiteY41" fmla="*/ 1100900 h 2095880"/>
              <a:gd name="connsiteX42" fmla="*/ 1145000 w 7750397"/>
              <a:gd name="connsiteY42" fmla="*/ 1194816 h 2095880"/>
              <a:gd name="connsiteX43" fmla="*/ 1145000 w 7750397"/>
              <a:gd name="connsiteY43" fmla="*/ 1089755 h 2095880"/>
              <a:gd name="connsiteX44" fmla="*/ 887159 w 7750397"/>
              <a:gd name="connsiteY44" fmla="*/ 1089755 h 2095880"/>
              <a:gd name="connsiteX45" fmla="*/ 887159 w 7750397"/>
              <a:gd name="connsiteY45" fmla="*/ 1808512 h 2095880"/>
              <a:gd name="connsiteX46" fmla="*/ 1166717 w 7750397"/>
              <a:gd name="connsiteY46" fmla="*/ 1808512 h 2095880"/>
              <a:gd name="connsiteX47" fmla="*/ 1166717 w 7750397"/>
              <a:gd name="connsiteY47" fmla="*/ 1422368 h 2095880"/>
              <a:gd name="connsiteX48" fmla="*/ 1191292 w 7750397"/>
              <a:gd name="connsiteY48" fmla="*/ 1327785 h 2095880"/>
              <a:gd name="connsiteX49" fmla="*/ 1263110 w 7750397"/>
              <a:gd name="connsiteY49" fmla="*/ 1295400 h 2095880"/>
              <a:gd name="connsiteX50" fmla="*/ 1339501 w 7750397"/>
              <a:gd name="connsiteY50" fmla="*/ 1327499 h 2095880"/>
              <a:gd name="connsiteX51" fmla="*/ 1362837 w 7750397"/>
              <a:gd name="connsiteY51" fmla="*/ 1433608 h 2095880"/>
              <a:gd name="connsiteX52" fmla="*/ 1362837 w 7750397"/>
              <a:gd name="connsiteY52" fmla="*/ 1808512 h 2095880"/>
              <a:gd name="connsiteX53" fmla="*/ 1641062 w 7750397"/>
              <a:gd name="connsiteY53" fmla="*/ 1808512 h 2095880"/>
              <a:gd name="connsiteX54" fmla="*/ 1641062 w 7750397"/>
              <a:gd name="connsiteY54" fmla="*/ 1426369 h 2095880"/>
              <a:gd name="connsiteX55" fmla="*/ 1665351 w 7750397"/>
              <a:gd name="connsiteY55" fmla="*/ 1327214 h 2095880"/>
              <a:gd name="connsiteX56" fmla="*/ 1741456 w 7750397"/>
              <a:gd name="connsiteY56" fmla="*/ 1295400 h 2095880"/>
              <a:gd name="connsiteX57" fmla="*/ 1814608 w 7750397"/>
              <a:gd name="connsiteY57" fmla="*/ 1325880 h 2095880"/>
              <a:gd name="connsiteX58" fmla="*/ 1837277 w 7750397"/>
              <a:gd name="connsiteY58" fmla="*/ 1423702 h 2095880"/>
              <a:gd name="connsiteX59" fmla="*/ 1837277 w 7750397"/>
              <a:gd name="connsiteY59" fmla="*/ 1808512 h 2095880"/>
              <a:gd name="connsiteX60" fmla="*/ 2116741 w 7750397"/>
              <a:gd name="connsiteY60" fmla="*/ 1808512 h 2095880"/>
              <a:gd name="connsiteX61" fmla="*/ 2116741 w 7750397"/>
              <a:gd name="connsiteY61" fmla="*/ 1318546 h 2095880"/>
              <a:gd name="connsiteX62" fmla="*/ 2047208 w 7750397"/>
              <a:gd name="connsiteY62" fmla="*/ 1134713 h 2095880"/>
              <a:gd name="connsiteX63" fmla="*/ 1851660 w 7750397"/>
              <a:gd name="connsiteY63" fmla="*/ 1069277 h 2095880"/>
              <a:gd name="connsiteX64" fmla="*/ 411575 w 7750397"/>
              <a:gd name="connsiteY64" fmla="*/ 1066324 h 2095880"/>
              <a:gd name="connsiteX65" fmla="*/ 0 w 7750397"/>
              <a:gd name="connsiteY65" fmla="*/ 1456277 h 2095880"/>
              <a:gd name="connsiteX66" fmla="*/ 400717 w 7750397"/>
              <a:gd name="connsiteY66" fmla="*/ 1834134 h 2095880"/>
              <a:gd name="connsiteX67" fmla="*/ 796100 w 7750397"/>
              <a:gd name="connsiteY67" fmla="*/ 1596676 h 2095880"/>
              <a:gd name="connsiteX68" fmla="*/ 523494 w 7750397"/>
              <a:gd name="connsiteY68" fmla="*/ 1596676 h 2095880"/>
              <a:gd name="connsiteX69" fmla="*/ 416814 w 7750397"/>
              <a:gd name="connsiteY69" fmla="*/ 1656112 h 2095880"/>
              <a:gd name="connsiteX70" fmla="*/ 284607 w 7750397"/>
              <a:gd name="connsiteY70" fmla="*/ 1513046 h 2095880"/>
              <a:gd name="connsiteX71" fmla="*/ 818959 w 7750397"/>
              <a:gd name="connsiteY71" fmla="*/ 1513046 h 2095880"/>
              <a:gd name="connsiteX72" fmla="*/ 818959 w 7750397"/>
              <a:gd name="connsiteY72" fmla="*/ 1495520 h 2095880"/>
              <a:gd name="connsiteX73" fmla="*/ 411385 w 7750397"/>
              <a:gd name="connsiteY73" fmla="*/ 1066419 h 2095880"/>
              <a:gd name="connsiteX74" fmla="*/ 284797 w 7750397"/>
              <a:gd name="connsiteY74" fmla="*/ 1369885 h 2095880"/>
              <a:gd name="connsiteX75" fmla="*/ 408908 w 7750397"/>
              <a:gd name="connsiteY75" fmla="*/ 1236250 h 2095880"/>
              <a:gd name="connsiteX76" fmla="*/ 538448 w 7750397"/>
              <a:gd name="connsiteY76" fmla="*/ 1369885 h 2095880"/>
              <a:gd name="connsiteX77" fmla="*/ 284797 w 7750397"/>
              <a:gd name="connsiteY77" fmla="*/ 1369885 h 2095880"/>
              <a:gd name="connsiteX78" fmla="*/ 2702052 w 7750397"/>
              <a:gd name="connsiteY78" fmla="*/ 1072991 h 2095880"/>
              <a:gd name="connsiteX79" fmla="*/ 2470023 w 7750397"/>
              <a:gd name="connsiteY79" fmla="*/ 1183672 h 2095880"/>
              <a:gd name="connsiteX80" fmla="*/ 2470023 w 7750397"/>
              <a:gd name="connsiteY80" fmla="*/ 1091851 h 2095880"/>
              <a:gd name="connsiteX81" fmla="*/ 2217706 w 7750397"/>
              <a:gd name="connsiteY81" fmla="*/ 1091851 h 2095880"/>
              <a:gd name="connsiteX82" fmla="*/ 2217706 w 7750397"/>
              <a:gd name="connsiteY82" fmla="*/ 2095881 h 2095880"/>
              <a:gd name="connsiteX83" fmla="*/ 2494312 w 7750397"/>
              <a:gd name="connsiteY83" fmla="*/ 2095881 h 2095880"/>
              <a:gd name="connsiteX84" fmla="*/ 2494312 w 7750397"/>
              <a:gd name="connsiteY84" fmla="*/ 1740980 h 2095880"/>
              <a:gd name="connsiteX85" fmla="*/ 2696718 w 7750397"/>
              <a:gd name="connsiteY85" fmla="*/ 1832705 h 2095880"/>
              <a:gd name="connsiteX86" fmla="*/ 3013901 w 7750397"/>
              <a:gd name="connsiteY86" fmla="*/ 1452182 h 2095880"/>
              <a:gd name="connsiteX87" fmla="*/ 2702147 w 7750397"/>
              <a:gd name="connsiteY87" fmla="*/ 1072991 h 2095880"/>
              <a:gd name="connsiteX88" fmla="*/ 2611660 w 7750397"/>
              <a:gd name="connsiteY88" fmla="*/ 1614202 h 2095880"/>
              <a:gd name="connsiteX89" fmla="*/ 2494312 w 7750397"/>
              <a:gd name="connsiteY89" fmla="*/ 1452182 h 2095880"/>
              <a:gd name="connsiteX90" fmla="*/ 2614422 w 7750397"/>
              <a:gd name="connsiteY90" fmla="*/ 1286161 h 2095880"/>
              <a:gd name="connsiteX91" fmla="*/ 2729103 w 7750397"/>
              <a:gd name="connsiteY91" fmla="*/ 1452182 h 2095880"/>
              <a:gd name="connsiteX92" fmla="*/ 2611660 w 7750397"/>
              <a:gd name="connsiteY92" fmla="*/ 1614202 h 2095880"/>
              <a:gd name="connsiteX93" fmla="*/ 3458623 w 7750397"/>
              <a:gd name="connsiteY93" fmla="*/ 1066324 h 2095880"/>
              <a:gd name="connsiteX94" fmla="*/ 3053810 w 7750397"/>
              <a:gd name="connsiteY94" fmla="*/ 1449515 h 2095880"/>
              <a:gd name="connsiteX95" fmla="*/ 3458623 w 7750397"/>
              <a:gd name="connsiteY95" fmla="*/ 1834134 h 2095880"/>
              <a:gd name="connsiteX96" fmla="*/ 3863435 w 7750397"/>
              <a:gd name="connsiteY96" fmla="*/ 1449515 h 2095880"/>
              <a:gd name="connsiteX97" fmla="*/ 3458623 w 7750397"/>
              <a:gd name="connsiteY97" fmla="*/ 1066324 h 2095880"/>
              <a:gd name="connsiteX98" fmla="*/ 3458623 w 7750397"/>
              <a:gd name="connsiteY98" fmla="*/ 1635728 h 2095880"/>
              <a:gd name="connsiteX99" fmla="*/ 3341180 w 7750397"/>
              <a:gd name="connsiteY99" fmla="*/ 1449515 h 2095880"/>
              <a:gd name="connsiteX100" fmla="*/ 3458623 w 7750397"/>
              <a:gd name="connsiteY100" fmla="*/ 1264634 h 2095880"/>
              <a:gd name="connsiteX101" fmla="*/ 3577400 w 7750397"/>
              <a:gd name="connsiteY101" fmla="*/ 1449515 h 2095880"/>
              <a:gd name="connsiteX102" fmla="*/ 3458623 w 7750397"/>
              <a:gd name="connsiteY102" fmla="*/ 1635728 h 2095880"/>
              <a:gd name="connsiteX103" fmla="*/ 4805744 w 7750397"/>
              <a:gd name="connsiteY103" fmla="*/ 1091851 h 2095880"/>
              <a:gd name="connsiteX104" fmla="*/ 4699159 w 7750397"/>
              <a:gd name="connsiteY104" fmla="*/ 1529143 h 2095880"/>
              <a:gd name="connsiteX105" fmla="*/ 4588478 w 7750397"/>
              <a:gd name="connsiteY105" fmla="*/ 1091851 h 2095880"/>
              <a:gd name="connsiteX106" fmla="*/ 4348258 w 7750397"/>
              <a:gd name="connsiteY106" fmla="*/ 1091851 h 2095880"/>
              <a:gd name="connsiteX107" fmla="*/ 4237578 w 7750397"/>
              <a:gd name="connsiteY107" fmla="*/ 1529143 h 2095880"/>
              <a:gd name="connsiteX108" fmla="*/ 4130898 w 7750397"/>
              <a:gd name="connsiteY108" fmla="*/ 1091851 h 2095880"/>
              <a:gd name="connsiteX109" fmla="*/ 3848862 w 7750397"/>
              <a:gd name="connsiteY109" fmla="*/ 1091851 h 2095880"/>
              <a:gd name="connsiteX110" fmla="*/ 4085082 w 7750397"/>
              <a:gd name="connsiteY110" fmla="*/ 1808512 h 2095880"/>
              <a:gd name="connsiteX111" fmla="*/ 4364356 w 7750397"/>
              <a:gd name="connsiteY111" fmla="*/ 1808512 h 2095880"/>
              <a:gd name="connsiteX112" fmla="*/ 4468368 w 7750397"/>
              <a:gd name="connsiteY112" fmla="*/ 1394174 h 2095880"/>
              <a:gd name="connsiteX113" fmla="*/ 4572191 w 7750397"/>
              <a:gd name="connsiteY113" fmla="*/ 1808512 h 2095880"/>
              <a:gd name="connsiteX114" fmla="*/ 4851559 w 7750397"/>
              <a:gd name="connsiteY114" fmla="*/ 1808512 h 2095880"/>
              <a:gd name="connsiteX115" fmla="*/ 5076825 w 7750397"/>
              <a:gd name="connsiteY115" fmla="*/ 1091851 h 2095880"/>
              <a:gd name="connsiteX116" fmla="*/ 4805648 w 7750397"/>
              <a:gd name="connsiteY116" fmla="*/ 1091851 h 2095880"/>
              <a:gd name="connsiteX117" fmla="*/ 5476018 w 7750397"/>
              <a:gd name="connsiteY117" fmla="*/ 1066229 h 2095880"/>
              <a:gd name="connsiteX118" fmla="*/ 5064443 w 7750397"/>
              <a:gd name="connsiteY118" fmla="*/ 1456182 h 2095880"/>
              <a:gd name="connsiteX119" fmla="*/ 5465159 w 7750397"/>
              <a:gd name="connsiteY119" fmla="*/ 1834039 h 2095880"/>
              <a:gd name="connsiteX120" fmla="*/ 5860542 w 7750397"/>
              <a:gd name="connsiteY120" fmla="*/ 1596581 h 2095880"/>
              <a:gd name="connsiteX121" fmla="*/ 5587937 w 7750397"/>
              <a:gd name="connsiteY121" fmla="*/ 1596581 h 2095880"/>
              <a:gd name="connsiteX122" fmla="*/ 5481257 w 7750397"/>
              <a:gd name="connsiteY122" fmla="*/ 1656017 h 2095880"/>
              <a:gd name="connsiteX123" fmla="*/ 5349049 w 7750397"/>
              <a:gd name="connsiteY123" fmla="*/ 1512951 h 2095880"/>
              <a:gd name="connsiteX124" fmla="*/ 5883402 w 7750397"/>
              <a:gd name="connsiteY124" fmla="*/ 1512951 h 2095880"/>
              <a:gd name="connsiteX125" fmla="*/ 5883402 w 7750397"/>
              <a:gd name="connsiteY125" fmla="*/ 1495425 h 2095880"/>
              <a:gd name="connsiteX126" fmla="*/ 5475828 w 7750397"/>
              <a:gd name="connsiteY126" fmla="*/ 1066324 h 2095880"/>
              <a:gd name="connsiteX127" fmla="*/ 5349240 w 7750397"/>
              <a:gd name="connsiteY127" fmla="*/ 1369790 h 2095880"/>
              <a:gd name="connsiteX128" fmla="*/ 5473351 w 7750397"/>
              <a:gd name="connsiteY128" fmla="*/ 1236155 h 2095880"/>
              <a:gd name="connsiteX129" fmla="*/ 5602891 w 7750397"/>
              <a:gd name="connsiteY129" fmla="*/ 1369790 h 2095880"/>
              <a:gd name="connsiteX130" fmla="*/ 5349240 w 7750397"/>
              <a:gd name="connsiteY130" fmla="*/ 1369790 h 2095880"/>
              <a:gd name="connsiteX131" fmla="*/ 6443377 w 7750397"/>
              <a:gd name="connsiteY131" fmla="*/ 1072896 h 2095880"/>
              <a:gd name="connsiteX132" fmla="*/ 6220682 w 7750397"/>
              <a:gd name="connsiteY132" fmla="*/ 1222724 h 2095880"/>
              <a:gd name="connsiteX133" fmla="*/ 6220682 w 7750397"/>
              <a:gd name="connsiteY133" fmla="*/ 1091756 h 2095880"/>
              <a:gd name="connsiteX134" fmla="*/ 5957507 w 7750397"/>
              <a:gd name="connsiteY134" fmla="*/ 1091756 h 2095880"/>
              <a:gd name="connsiteX135" fmla="*/ 5957507 w 7750397"/>
              <a:gd name="connsiteY135" fmla="*/ 1808417 h 2095880"/>
              <a:gd name="connsiteX136" fmla="*/ 6243543 w 7750397"/>
              <a:gd name="connsiteY136" fmla="*/ 1808417 h 2095880"/>
              <a:gd name="connsiteX137" fmla="*/ 6243543 w 7750397"/>
              <a:gd name="connsiteY137" fmla="*/ 1514285 h 2095880"/>
              <a:gd name="connsiteX138" fmla="*/ 6410897 w 7750397"/>
              <a:gd name="connsiteY138" fmla="*/ 1353598 h 2095880"/>
              <a:gd name="connsiteX139" fmla="*/ 6468999 w 7750397"/>
              <a:gd name="connsiteY139" fmla="*/ 1357693 h 2095880"/>
              <a:gd name="connsiteX140" fmla="*/ 6468999 w 7750397"/>
              <a:gd name="connsiteY140" fmla="*/ 1072896 h 2095880"/>
              <a:gd name="connsiteX141" fmla="*/ 6443377 w 7750397"/>
              <a:gd name="connsiteY141" fmla="*/ 1072896 h 209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7750397" h="2095880">
                <a:moveTo>
                  <a:pt x="6897053" y="282131"/>
                </a:moveTo>
                <a:lnTo>
                  <a:pt x="6921151" y="306229"/>
                </a:lnTo>
                <a:lnTo>
                  <a:pt x="6921151" y="709708"/>
                </a:lnTo>
                <a:lnTo>
                  <a:pt x="6897053" y="733806"/>
                </a:lnTo>
                <a:lnTo>
                  <a:pt x="6493574" y="733806"/>
                </a:lnTo>
                <a:lnTo>
                  <a:pt x="6469475" y="709708"/>
                </a:lnTo>
                <a:lnTo>
                  <a:pt x="6469475" y="306229"/>
                </a:lnTo>
                <a:lnTo>
                  <a:pt x="6493574" y="282131"/>
                </a:lnTo>
                <a:lnTo>
                  <a:pt x="6897053" y="282131"/>
                </a:lnTo>
                <a:close/>
                <a:moveTo>
                  <a:pt x="7040594" y="829342"/>
                </a:moveTo>
                <a:lnTo>
                  <a:pt x="7016497" y="853345"/>
                </a:lnTo>
                <a:lnTo>
                  <a:pt x="7016497" y="1256919"/>
                </a:lnTo>
                <a:lnTo>
                  <a:pt x="7040594" y="1281017"/>
                </a:lnTo>
                <a:lnTo>
                  <a:pt x="7444073" y="1281017"/>
                </a:lnTo>
                <a:lnTo>
                  <a:pt x="7468077" y="1256919"/>
                </a:lnTo>
                <a:lnTo>
                  <a:pt x="7468077" y="853345"/>
                </a:lnTo>
                <a:lnTo>
                  <a:pt x="7444073" y="829342"/>
                </a:lnTo>
                <a:lnTo>
                  <a:pt x="7040594" y="829342"/>
                </a:lnTo>
                <a:close/>
                <a:moveTo>
                  <a:pt x="7750398" y="366998"/>
                </a:moveTo>
                <a:lnTo>
                  <a:pt x="7383304" y="0"/>
                </a:lnTo>
                <a:lnTo>
                  <a:pt x="7040309" y="0"/>
                </a:lnTo>
                <a:lnTo>
                  <a:pt x="7016211" y="24098"/>
                </a:lnTo>
                <a:lnTo>
                  <a:pt x="7016401" y="709708"/>
                </a:lnTo>
                <a:lnTo>
                  <a:pt x="7040499" y="733806"/>
                </a:lnTo>
                <a:lnTo>
                  <a:pt x="7726299" y="733806"/>
                </a:lnTo>
                <a:lnTo>
                  <a:pt x="7750398" y="709708"/>
                </a:lnTo>
                <a:lnTo>
                  <a:pt x="7750398" y="366998"/>
                </a:lnTo>
                <a:close/>
                <a:moveTo>
                  <a:pt x="6719602" y="829437"/>
                </a:moveTo>
                <a:lnTo>
                  <a:pt x="6695599" y="853440"/>
                </a:lnTo>
                <a:lnTo>
                  <a:pt x="6695599" y="1031177"/>
                </a:lnTo>
                <a:lnTo>
                  <a:pt x="6719602" y="1055275"/>
                </a:lnTo>
                <a:lnTo>
                  <a:pt x="6896957" y="1055275"/>
                </a:lnTo>
                <a:lnTo>
                  <a:pt x="6921056" y="1031272"/>
                </a:lnTo>
                <a:lnTo>
                  <a:pt x="6921056" y="853440"/>
                </a:lnTo>
                <a:lnTo>
                  <a:pt x="6896957" y="829437"/>
                </a:lnTo>
                <a:lnTo>
                  <a:pt x="6719602" y="829437"/>
                </a:lnTo>
                <a:close/>
                <a:moveTo>
                  <a:pt x="1851660" y="1069181"/>
                </a:moveTo>
                <a:cubicBezTo>
                  <a:pt x="1800035" y="1069181"/>
                  <a:pt x="1753648" y="1079373"/>
                  <a:pt x="1712595" y="1099566"/>
                </a:cubicBezTo>
                <a:cubicBezTo>
                  <a:pt x="1671447" y="1119854"/>
                  <a:pt x="1633633" y="1151573"/>
                  <a:pt x="1599057" y="1194721"/>
                </a:cubicBezTo>
                <a:cubicBezTo>
                  <a:pt x="1572387" y="1151573"/>
                  <a:pt x="1542098" y="1120045"/>
                  <a:pt x="1508189" y="1100233"/>
                </a:cubicBezTo>
                <a:cubicBezTo>
                  <a:pt x="1474280" y="1080421"/>
                  <a:pt x="1433893" y="1070515"/>
                  <a:pt x="1387126" y="1070515"/>
                </a:cubicBezTo>
                <a:cubicBezTo>
                  <a:pt x="1335977" y="1070515"/>
                  <a:pt x="1290638" y="1080611"/>
                  <a:pt x="1251299" y="1100900"/>
                </a:cubicBezTo>
                <a:cubicBezTo>
                  <a:pt x="1211961" y="1121188"/>
                  <a:pt x="1176528" y="1152430"/>
                  <a:pt x="1145000" y="1194816"/>
                </a:cubicBezTo>
                <a:lnTo>
                  <a:pt x="1145000" y="1089755"/>
                </a:lnTo>
                <a:lnTo>
                  <a:pt x="887159" y="1089755"/>
                </a:lnTo>
                <a:lnTo>
                  <a:pt x="887159" y="1808512"/>
                </a:lnTo>
                <a:lnTo>
                  <a:pt x="1166717" y="1808512"/>
                </a:lnTo>
                <a:lnTo>
                  <a:pt x="1166717" y="1422368"/>
                </a:lnTo>
                <a:cubicBezTo>
                  <a:pt x="1166717" y="1380935"/>
                  <a:pt x="1174909" y="1349407"/>
                  <a:pt x="1191292" y="1327785"/>
                </a:cubicBezTo>
                <a:cubicBezTo>
                  <a:pt x="1207675" y="1306163"/>
                  <a:pt x="1231678" y="1295400"/>
                  <a:pt x="1263110" y="1295400"/>
                </a:cubicBezTo>
                <a:cubicBezTo>
                  <a:pt x="1298543" y="1295400"/>
                  <a:pt x="1323975" y="1306068"/>
                  <a:pt x="1339501" y="1327499"/>
                </a:cubicBezTo>
                <a:cubicBezTo>
                  <a:pt x="1355027" y="1348931"/>
                  <a:pt x="1362837" y="1384268"/>
                  <a:pt x="1362837" y="1433608"/>
                </a:cubicBezTo>
                <a:lnTo>
                  <a:pt x="1362837" y="1808512"/>
                </a:lnTo>
                <a:lnTo>
                  <a:pt x="1641062" y="1808512"/>
                </a:lnTo>
                <a:lnTo>
                  <a:pt x="1641062" y="1426369"/>
                </a:lnTo>
                <a:cubicBezTo>
                  <a:pt x="1641062" y="1381411"/>
                  <a:pt x="1649159" y="1348359"/>
                  <a:pt x="1665351" y="1327214"/>
                </a:cubicBezTo>
                <a:cubicBezTo>
                  <a:pt x="1681543" y="1306068"/>
                  <a:pt x="1706880" y="1295400"/>
                  <a:pt x="1741456" y="1295400"/>
                </a:cubicBezTo>
                <a:cubicBezTo>
                  <a:pt x="1776032" y="1295400"/>
                  <a:pt x="1799558" y="1305592"/>
                  <a:pt x="1814608" y="1325880"/>
                </a:cubicBezTo>
                <a:cubicBezTo>
                  <a:pt x="1829657" y="1346168"/>
                  <a:pt x="1837277" y="1378744"/>
                  <a:pt x="1837277" y="1423702"/>
                </a:cubicBezTo>
                <a:lnTo>
                  <a:pt x="1837277" y="1808512"/>
                </a:lnTo>
                <a:lnTo>
                  <a:pt x="2116741" y="1808512"/>
                </a:lnTo>
                <a:lnTo>
                  <a:pt x="2116741" y="1318546"/>
                </a:lnTo>
                <a:cubicBezTo>
                  <a:pt x="2116741" y="1239679"/>
                  <a:pt x="2093595" y="1178338"/>
                  <a:pt x="2047208" y="1134713"/>
                </a:cubicBezTo>
                <a:cubicBezTo>
                  <a:pt x="2000822" y="1091089"/>
                  <a:pt x="1935670" y="1069277"/>
                  <a:pt x="1851660" y="1069277"/>
                </a:cubicBezTo>
                <a:close/>
                <a:moveTo>
                  <a:pt x="411575" y="1066324"/>
                </a:moveTo>
                <a:cubicBezTo>
                  <a:pt x="156591" y="1066324"/>
                  <a:pt x="0" y="1216057"/>
                  <a:pt x="0" y="1456277"/>
                </a:cubicBezTo>
                <a:cubicBezTo>
                  <a:pt x="0" y="1696498"/>
                  <a:pt x="152495" y="1834134"/>
                  <a:pt x="400717" y="1834134"/>
                </a:cubicBezTo>
                <a:cubicBezTo>
                  <a:pt x="622078" y="1834134"/>
                  <a:pt x="757047" y="1751838"/>
                  <a:pt x="796100" y="1596676"/>
                </a:cubicBezTo>
                <a:lnTo>
                  <a:pt x="523494" y="1596676"/>
                </a:lnTo>
                <a:cubicBezTo>
                  <a:pt x="509968" y="1634490"/>
                  <a:pt x="472250" y="1656112"/>
                  <a:pt x="416814" y="1656112"/>
                </a:cubicBezTo>
                <a:cubicBezTo>
                  <a:pt x="334518" y="1656112"/>
                  <a:pt x="287274" y="1604867"/>
                  <a:pt x="284607" y="1513046"/>
                </a:cubicBezTo>
                <a:lnTo>
                  <a:pt x="818959" y="1513046"/>
                </a:lnTo>
                <a:lnTo>
                  <a:pt x="818959" y="1495520"/>
                </a:lnTo>
                <a:cubicBezTo>
                  <a:pt x="818959" y="1225582"/>
                  <a:pt x="665131" y="1066419"/>
                  <a:pt x="411385" y="1066419"/>
                </a:cubicBezTo>
                <a:close/>
                <a:moveTo>
                  <a:pt x="284797" y="1369885"/>
                </a:moveTo>
                <a:cubicBezTo>
                  <a:pt x="288703" y="1284923"/>
                  <a:pt x="334709" y="1236250"/>
                  <a:pt x="408908" y="1236250"/>
                </a:cubicBezTo>
                <a:cubicBezTo>
                  <a:pt x="489871" y="1236250"/>
                  <a:pt x="533019" y="1280827"/>
                  <a:pt x="538448" y="1369885"/>
                </a:cubicBezTo>
                <a:lnTo>
                  <a:pt x="284797" y="1369885"/>
                </a:lnTo>
                <a:close/>
                <a:moveTo>
                  <a:pt x="2702052" y="1072991"/>
                </a:moveTo>
                <a:cubicBezTo>
                  <a:pt x="2599563" y="1072991"/>
                  <a:pt x="2526697" y="1106710"/>
                  <a:pt x="2470023" y="1183672"/>
                </a:cubicBezTo>
                <a:lnTo>
                  <a:pt x="2470023" y="1091851"/>
                </a:lnTo>
                <a:lnTo>
                  <a:pt x="2217706" y="1091851"/>
                </a:lnTo>
                <a:lnTo>
                  <a:pt x="2217706" y="2095881"/>
                </a:lnTo>
                <a:lnTo>
                  <a:pt x="2494312" y="2095881"/>
                </a:lnTo>
                <a:lnTo>
                  <a:pt x="2494312" y="1740980"/>
                </a:lnTo>
                <a:cubicBezTo>
                  <a:pt x="2544223" y="1804416"/>
                  <a:pt x="2608993" y="1832705"/>
                  <a:pt x="2696718" y="1832705"/>
                </a:cubicBezTo>
                <a:cubicBezTo>
                  <a:pt x="2888361" y="1832705"/>
                  <a:pt x="3013901" y="1685544"/>
                  <a:pt x="3013901" y="1452182"/>
                </a:cubicBezTo>
                <a:cubicBezTo>
                  <a:pt x="3013901" y="1218819"/>
                  <a:pt x="2884361" y="1072991"/>
                  <a:pt x="2702147" y="1072991"/>
                </a:cubicBezTo>
                <a:close/>
                <a:moveTo>
                  <a:pt x="2611660" y="1614202"/>
                </a:moveTo>
                <a:cubicBezTo>
                  <a:pt x="2533460" y="1614202"/>
                  <a:pt x="2494312" y="1560195"/>
                  <a:pt x="2494312" y="1452182"/>
                </a:cubicBezTo>
                <a:cubicBezTo>
                  <a:pt x="2494312" y="1338834"/>
                  <a:pt x="2529364" y="1286161"/>
                  <a:pt x="2614422" y="1286161"/>
                </a:cubicBezTo>
                <a:cubicBezTo>
                  <a:pt x="2692718" y="1286161"/>
                  <a:pt x="2729103" y="1340168"/>
                  <a:pt x="2729103" y="1452182"/>
                </a:cubicBezTo>
                <a:cubicBezTo>
                  <a:pt x="2729103" y="1564196"/>
                  <a:pt x="2688622" y="1614202"/>
                  <a:pt x="2611660" y="1614202"/>
                </a:cubicBezTo>
                <a:close/>
                <a:moveTo>
                  <a:pt x="3458623" y="1066324"/>
                </a:moveTo>
                <a:cubicBezTo>
                  <a:pt x="3206306" y="1066324"/>
                  <a:pt x="3053810" y="1211961"/>
                  <a:pt x="3053810" y="1449515"/>
                </a:cubicBezTo>
                <a:cubicBezTo>
                  <a:pt x="3053810" y="1687068"/>
                  <a:pt x="3206306" y="1834134"/>
                  <a:pt x="3458623" y="1834134"/>
                </a:cubicBezTo>
                <a:cubicBezTo>
                  <a:pt x="3710940" y="1834134"/>
                  <a:pt x="3863435" y="1687068"/>
                  <a:pt x="3863435" y="1449515"/>
                </a:cubicBezTo>
                <a:cubicBezTo>
                  <a:pt x="3863435" y="1211961"/>
                  <a:pt x="3710940" y="1066324"/>
                  <a:pt x="3458623" y="1066324"/>
                </a:cubicBezTo>
                <a:close/>
                <a:moveTo>
                  <a:pt x="3458623" y="1635728"/>
                </a:moveTo>
                <a:cubicBezTo>
                  <a:pt x="3372231" y="1635728"/>
                  <a:pt x="3341180" y="1576388"/>
                  <a:pt x="3341180" y="1449515"/>
                </a:cubicBezTo>
                <a:cubicBezTo>
                  <a:pt x="3341180" y="1322642"/>
                  <a:pt x="3372231" y="1264634"/>
                  <a:pt x="3458623" y="1264634"/>
                </a:cubicBezTo>
                <a:cubicBezTo>
                  <a:pt x="3545015" y="1264634"/>
                  <a:pt x="3577400" y="1322737"/>
                  <a:pt x="3577400" y="1449515"/>
                </a:cubicBezTo>
                <a:cubicBezTo>
                  <a:pt x="3577400" y="1576292"/>
                  <a:pt x="3545015" y="1635728"/>
                  <a:pt x="3458623" y="1635728"/>
                </a:cubicBezTo>
                <a:close/>
                <a:moveTo>
                  <a:pt x="4805744" y="1091851"/>
                </a:moveTo>
                <a:lnTo>
                  <a:pt x="4699159" y="1529143"/>
                </a:lnTo>
                <a:lnTo>
                  <a:pt x="4588478" y="1091851"/>
                </a:lnTo>
                <a:lnTo>
                  <a:pt x="4348258" y="1091851"/>
                </a:lnTo>
                <a:lnTo>
                  <a:pt x="4237578" y="1529143"/>
                </a:lnTo>
                <a:lnTo>
                  <a:pt x="4130898" y="1091851"/>
                </a:lnTo>
                <a:lnTo>
                  <a:pt x="3848862" y="1091851"/>
                </a:lnTo>
                <a:lnTo>
                  <a:pt x="4085082" y="1808512"/>
                </a:lnTo>
                <a:lnTo>
                  <a:pt x="4364356" y="1808512"/>
                </a:lnTo>
                <a:lnTo>
                  <a:pt x="4468368" y="1394174"/>
                </a:lnTo>
                <a:lnTo>
                  <a:pt x="4572191" y="1808512"/>
                </a:lnTo>
                <a:lnTo>
                  <a:pt x="4851559" y="1808512"/>
                </a:lnTo>
                <a:lnTo>
                  <a:pt x="5076825" y="1091851"/>
                </a:lnTo>
                <a:lnTo>
                  <a:pt x="4805648" y="1091851"/>
                </a:lnTo>
                <a:close/>
                <a:moveTo>
                  <a:pt x="5476018" y="1066229"/>
                </a:moveTo>
                <a:cubicBezTo>
                  <a:pt x="5221034" y="1066229"/>
                  <a:pt x="5064443" y="1215962"/>
                  <a:pt x="5064443" y="1456182"/>
                </a:cubicBezTo>
                <a:cubicBezTo>
                  <a:pt x="5064443" y="1696402"/>
                  <a:pt x="5216938" y="1834039"/>
                  <a:pt x="5465159" y="1834039"/>
                </a:cubicBezTo>
                <a:cubicBezTo>
                  <a:pt x="5686521" y="1834039"/>
                  <a:pt x="5821490" y="1751743"/>
                  <a:pt x="5860542" y="1596581"/>
                </a:cubicBezTo>
                <a:lnTo>
                  <a:pt x="5587937" y="1596581"/>
                </a:lnTo>
                <a:cubicBezTo>
                  <a:pt x="5574411" y="1634395"/>
                  <a:pt x="5536597" y="1656017"/>
                  <a:pt x="5481257" y="1656017"/>
                </a:cubicBezTo>
                <a:cubicBezTo>
                  <a:pt x="5398961" y="1656017"/>
                  <a:pt x="5351717" y="1604772"/>
                  <a:pt x="5349049" y="1512951"/>
                </a:cubicBezTo>
                <a:lnTo>
                  <a:pt x="5883402" y="1512951"/>
                </a:lnTo>
                <a:lnTo>
                  <a:pt x="5883402" y="1495425"/>
                </a:lnTo>
                <a:cubicBezTo>
                  <a:pt x="5883402" y="1225487"/>
                  <a:pt x="5729573" y="1066324"/>
                  <a:pt x="5475828" y="1066324"/>
                </a:cubicBezTo>
                <a:close/>
                <a:moveTo>
                  <a:pt x="5349240" y="1369790"/>
                </a:moveTo>
                <a:cubicBezTo>
                  <a:pt x="5353146" y="1284827"/>
                  <a:pt x="5399151" y="1236155"/>
                  <a:pt x="5473351" y="1236155"/>
                </a:cubicBezTo>
                <a:cubicBezTo>
                  <a:pt x="5554314" y="1236155"/>
                  <a:pt x="5597462" y="1280732"/>
                  <a:pt x="5602891" y="1369790"/>
                </a:cubicBezTo>
                <a:lnTo>
                  <a:pt x="5349240" y="1369790"/>
                </a:lnTo>
                <a:close/>
                <a:moveTo>
                  <a:pt x="6443377" y="1072896"/>
                </a:moveTo>
                <a:cubicBezTo>
                  <a:pt x="6327267" y="1072896"/>
                  <a:pt x="6258497" y="1117378"/>
                  <a:pt x="6220682" y="1222724"/>
                </a:cubicBezTo>
                <a:lnTo>
                  <a:pt x="6220682" y="1091756"/>
                </a:lnTo>
                <a:lnTo>
                  <a:pt x="5957507" y="1091756"/>
                </a:lnTo>
                <a:lnTo>
                  <a:pt x="5957507" y="1808417"/>
                </a:lnTo>
                <a:lnTo>
                  <a:pt x="6243543" y="1808417"/>
                </a:lnTo>
                <a:lnTo>
                  <a:pt x="6243543" y="1514285"/>
                </a:lnTo>
                <a:cubicBezTo>
                  <a:pt x="6243543" y="1403604"/>
                  <a:pt x="6296216" y="1353598"/>
                  <a:pt x="6410897" y="1353598"/>
                </a:cubicBezTo>
                <a:cubicBezTo>
                  <a:pt x="6428423" y="1353598"/>
                  <a:pt x="6447378" y="1355027"/>
                  <a:pt x="6468999" y="1357693"/>
                </a:cubicBezTo>
                <a:lnTo>
                  <a:pt x="6468999" y="1072896"/>
                </a:lnTo>
                <a:lnTo>
                  <a:pt x="6443377" y="1072896"/>
                </a:lnTo>
                <a:close/>
              </a:path>
            </a:pathLst>
          </a:custGeom>
          <a:solidFill>
            <a:schemeClr val="bg1"/>
          </a:solidFill>
          <a:ln w="9525" cap="flat">
            <a:noFill/>
            <a:prstDash val="solid"/>
            <a:miter/>
          </a:ln>
        </p:spPr>
        <p:txBody>
          <a:bodyPr rtlCol="0" anchor="ctr"/>
          <a:lstStyle/>
          <a:p>
            <a:endParaRPr lang="en-US"/>
          </a:p>
        </p:txBody>
      </p:sp>
      <p:sp>
        <p:nvSpPr>
          <p:cNvPr id="11" name="Blue Block">
            <a:extLst>
              <a:ext uri="{FF2B5EF4-FFF2-40B4-BE49-F238E27FC236}">
                <a16:creationId xmlns:a16="http://schemas.microsoft.com/office/drawing/2014/main" id="{7AD4D1C8-300A-85EA-CD84-2E0586AD7D57}"/>
              </a:ext>
            </a:extLst>
          </p:cNvPr>
          <p:cNvSpPr/>
          <p:nvPr/>
        </p:nvSpPr>
        <p:spPr bwMode="white">
          <a:xfrm>
            <a:off x="0" y="-1"/>
            <a:ext cx="4860000" cy="46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T"/>
          </a:p>
        </p:txBody>
      </p:sp>
      <p:sp>
        <p:nvSpPr>
          <p:cNvPr id="10" name="Subtitle">
            <a:extLst>
              <a:ext uri="{FF2B5EF4-FFF2-40B4-BE49-F238E27FC236}">
                <a16:creationId xmlns:a16="http://schemas.microsoft.com/office/drawing/2014/main" id="{9AD7562C-8257-11ED-C6EF-B20B75504BAD}"/>
              </a:ext>
            </a:extLst>
          </p:cNvPr>
          <p:cNvSpPr>
            <a:spLocks noGrp="1"/>
          </p:cNvSpPr>
          <p:nvPr>
            <p:ph type="subTitle" idx="1" hasCustomPrompt="1"/>
          </p:nvPr>
        </p:nvSpPr>
        <p:spPr>
          <a:xfrm>
            <a:off x="550800" y="3061072"/>
            <a:ext cx="3454400" cy="1016000"/>
          </a:xfrm>
          <a:prstGeom prst="rect">
            <a:avLst/>
          </a:prstGeom>
        </p:spPr>
        <p:txBody>
          <a:bodyPr anchor="t"/>
          <a:lstStyle>
            <a:lvl1pPr marL="0" indent="0" algn="l" defTabSz="203200" rtl="0" eaLnBrk="1" latinLnBrk="0" hangingPunct="1">
              <a:lnSpc>
                <a:spcPct val="90000"/>
              </a:lnSpc>
              <a:spcBef>
                <a:spcPct val="0"/>
              </a:spcBef>
              <a:spcAft>
                <a:spcPts val="600"/>
              </a:spcAft>
              <a:buFontTx/>
              <a:buNone/>
              <a:defRPr lang="en-US" sz="2400" kern="1200" baseline="0">
                <a:solidFill>
                  <a:schemeClr val="bg1"/>
                </a:solidFill>
                <a:latin typeface="+mn-lt"/>
                <a:ea typeface="+mn-ea"/>
                <a:cs typeface="+mn-cs"/>
              </a:defRPr>
            </a:lvl1pPr>
            <a:lvl2pPr marL="0" indent="0" algn="l">
              <a:lnSpc>
                <a:spcPct val="100000"/>
              </a:lnSpc>
              <a:spcBef>
                <a:spcPct val="0"/>
              </a:spcBef>
              <a:buNone/>
              <a:defRPr sz="14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a:t>
            </a:r>
            <a:br>
              <a:rPr lang="en-US"/>
            </a:br>
            <a:r>
              <a:rPr lang="en-US"/>
              <a:t>subtitle style</a:t>
            </a:r>
          </a:p>
        </p:txBody>
      </p:sp>
      <p:sp>
        <p:nvSpPr>
          <p:cNvPr id="9" name="Title">
            <a:extLst>
              <a:ext uri="{FF2B5EF4-FFF2-40B4-BE49-F238E27FC236}">
                <a16:creationId xmlns:a16="http://schemas.microsoft.com/office/drawing/2014/main" id="{E8877920-AA15-4721-9894-E5C6B06DACD3}"/>
              </a:ext>
            </a:extLst>
          </p:cNvPr>
          <p:cNvSpPr>
            <a:spLocks noGrp="1"/>
          </p:cNvSpPr>
          <p:nvPr>
            <p:ph type="title"/>
          </p:nvPr>
        </p:nvSpPr>
        <p:spPr>
          <a:xfrm>
            <a:off x="550800" y="838824"/>
            <a:ext cx="3454400" cy="2123658"/>
          </a:xfrm>
          <a:custGeom>
            <a:avLst/>
            <a:gdLst>
              <a:gd name="connsiteX0" fmla="*/ 0 w 8164842"/>
              <a:gd name="connsiteY0" fmla="*/ 0 h 1944775"/>
              <a:gd name="connsiteX1" fmla="*/ 8164842 w 8164842"/>
              <a:gd name="connsiteY1" fmla="*/ 0 h 1944775"/>
              <a:gd name="connsiteX2" fmla="*/ 8164842 w 8164842"/>
              <a:gd name="connsiteY2" fmla="*/ 1944775 h 1944775"/>
              <a:gd name="connsiteX3" fmla="*/ 0 w 8164842"/>
              <a:gd name="connsiteY3" fmla="*/ 1944775 h 1944775"/>
            </a:gdLst>
            <a:ahLst/>
            <a:cxnLst>
              <a:cxn ang="0">
                <a:pos x="connsiteX0" y="connsiteY0"/>
              </a:cxn>
              <a:cxn ang="0">
                <a:pos x="connsiteX1" y="connsiteY1"/>
              </a:cxn>
              <a:cxn ang="0">
                <a:pos x="connsiteX2" y="connsiteY2"/>
              </a:cxn>
              <a:cxn ang="0">
                <a:pos x="connsiteX3" y="connsiteY3"/>
              </a:cxn>
            </a:cxnLst>
            <a:rect l="l" t="t" r="r" b="b"/>
            <a:pathLst>
              <a:path w="8164842" h="1944775">
                <a:moveTo>
                  <a:pt x="0" y="0"/>
                </a:moveTo>
                <a:lnTo>
                  <a:pt x="8164842" y="0"/>
                </a:lnTo>
                <a:lnTo>
                  <a:pt x="8164842" y="1944775"/>
                </a:lnTo>
                <a:lnTo>
                  <a:pt x="0" y="1944775"/>
                </a:lnTo>
                <a:close/>
              </a:path>
            </a:pathLst>
          </a:custGeom>
        </p:spPr>
        <p:txBody>
          <a:bodyPr vert="horz" wrap="square" lIns="0" tIns="0" rIns="0" bIns="0" rtlCol="0" anchor="t" anchorCtr="0">
            <a:noAutofit/>
          </a:bodyPr>
          <a:lstStyle>
            <a:lvl1pPr algn="l">
              <a:lnSpc>
                <a:spcPct val="100000"/>
              </a:lnSpc>
              <a:defRPr lang="de-DE" sz="4600" b="0" i="0" spc="0" baseline="0">
                <a:solidFill>
                  <a:schemeClr val="bg1"/>
                </a:solidFill>
                <a:latin typeface="+mj-lt"/>
                <a:cs typeface="Segoe UI Semilight" panose="020B0502040204020203" pitchFamily="34" charset="0"/>
              </a:defRPr>
            </a:lvl1pPr>
          </a:lstStyle>
          <a:p>
            <a:pPr lvl="0"/>
            <a:r>
              <a:rPr lang="en-US" noProof="0"/>
              <a:t>Click to edit Master title style</a:t>
            </a:r>
            <a:endParaRPr lang="de-DE" noProof="0"/>
          </a:p>
        </p:txBody>
      </p:sp>
    </p:spTree>
    <p:extLst>
      <p:ext uri="{BB962C8B-B14F-4D97-AF65-F5344CB8AC3E}">
        <p14:creationId xmlns:p14="http://schemas.microsoft.com/office/powerpoint/2010/main" val="4151776612"/>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15:guide id="1" orient="horz" pos="845">
          <p15:clr>
            <a:srgbClr val="FBAE40"/>
          </p15:clr>
        </p15:guide>
        <p15:guide id="2" orient="horz" pos="1207">
          <p15:clr>
            <a:srgbClr val="FBAE40"/>
          </p15:clr>
        </p15:guide>
        <p15:guide id="3" orient="horz" pos="161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Blue">
    <p:bg>
      <p:bgRef idx="1001">
        <a:schemeClr val="bg2"/>
      </p:bgRef>
    </p:bg>
    <p:spTree>
      <p:nvGrpSpPr>
        <p:cNvPr id="1" name=""/>
        <p:cNvGrpSpPr/>
        <p:nvPr/>
      </p:nvGrpSpPr>
      <p:grpSpPr>
        <a:xfrm>
          <a:off x="0" y="0"/>
          <a:ext cx="0" cy="0"/>
          <a:chOff x="0" y="0"/>
          <a:chExt cx="0" cy="0"/>
        </a:xfrm>
      </p:grpSpPr>
      <p:sp>
        <p:nvSpPr>
          <p:cNvPr id="9" name="Gradient Box">
            <a:extLst>
              <a:ext uri="{FF2B5EF4-FFF2-40B4-BE49-F238E27FC236}">
                <a16:creationId xmlns:a16="http://schemas.microsoft.com/office/drawing/2014/main" id="{20D1D068-8642-4E0E-61F9-86262A4F54E3}"/>
              </a:ext>
            </a:extLst>
          </p:cNvPr>
          <p:cNvSpPr/>
          <p:nvPr/>
        </p:nvSpPr>
        <p:spPr bwMode="white">
          <a:xfrm>
            <a:off x="0" y="2006601"/>
            <a:ext cx="6096000" cy="4851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T"/>
          </a:p>
        </p:txBody>
      </p:sp>
      <p:sp>
        <p:nvSpPr>
          <p:cNvPr id="11" name="Squiggle">
            <a:extLst>
              <a:ext uri="{FF2B5EF4-FFF2-40B4-BE49-F238E27FC236}">
                <a16:creationId xmlns:a16="http://schemas.microsoft.com/office/drawing/2014/main" id="{9A328A6D-FD87-898A-9B1A-71C3E60F33FF}"/>
              </a:ext>
            </a:extLst>
          </p:cNvPr>
          <p:cNvSpPr/>
          <p:nvPr/>
        </p:nvSpPr>
        <p:spPr bwMode="invGray">
          <a:xfrm rot="7815528">
            <a:off x="-837800" y="-132284"/>
            <a:ext cx="9817614" cy="7561373"/>
          </a:xfrm>
          <a:custGeom>
            <a:avLst/>
            <a:gdLst>
              <a:gd name="connsiteX0" fmla="*/ 1075189 w 6958630"/>
              <a:gd name="connsiteY0" fmla="*/ 3827046 h 5359428"/>
              <a:gd name="connsiteX1" fmla="*/ 0 w 6958630"/>
              <a:gd name="connsiteY1" fmla="*/ 2557377 h 5359428"/>
              <a:gd name="connsiteX2" fmla="*/ 273834 w 6958630"/>
              <a:gd name="connsiteY2" fmla="*/ 1608741 h 5359428"/>
              <a:gd name="connsiteX3" fmla="*/ 455464 w 6958630"/>
              <a:gd name="connsiteY3" fmla="*/ 999730 h 5359428"/>
              <a:gd name="connsiteX4" fmla="*/ 485946 w 6958630"/>
              <a:gd name="connsiteY4" fmla="*/ 908688 h 5359428"/>
              <a:gd name="connsiteX5" fmla="*/ 1558997 w 6958630"/>
              <a:gd name="connsiteY5" fmla="*/ 0 h 5359428"/>
              <a:gd name="connsiteX6" fmla="*/ 1563049 w 6958630"/>
              <a:gd name="connsiteY6" fmla="*/ 27045 h 5359428"/>
              <a:gd name="connsiteX7" fmla="*/ 1535672 w 6958630"/>
              <a:gd name="connsiteY7" fmla="*/ 216059 h 5359428"/>
              <a:gd name="connsiteX8" fmla="*/ 1431946 w 6958630"/>
              <a:gd name="connsiteY8" fmla="*/ 713034 h 5359428"/>
              <a:gd name="connsiteX9" fmla="*/ 1308739 w 6958630"/>
              <a:gd name="connsiteY9" fmla="*/ 1477047 h 5359428"/>
              <a:gd name="connsiteX10" fmla="*/ 1089432 w 6958630"/>
              <a:gd name="connsiteY10" fmla="*/ 3528781 h 5359428"/>
              <a:gd name="connsiteX11" fmla="*/ 1996876 w 6958630"/>
              <a:gd name="connsiteY11" fmla="*/ 4915447 h 5359428"/>
              <a:gd name="connsiteX12" fmla="*/ 1398177 w 6958630"/>
              <a:gd name="connsiteY12" fmla="*/ 4208456 h 5359428"/>
              <a:gd name="connsiteX13" fmla="*/ 1590566 w 6958630"/>
              <a:gd name="connsiteY13" fmla="*/ 3612303 h 5359428"/>
              <a:gd name="connsiteX14" fmla="*/ 1974502 w 6958630"/>
              <a:gd name="connsiteY14" fmla="*/ 2503977 h 5359428"/>
              <a:gd name="connsiteX15" fmla="*/ 2349059 w 6958630"/>
              <a:gd name="connsiteY15" fmla="*/ 1522044 h 5359428"/>
              <a:gd name="connsiteX16" fmla="*/ 2474209 w 6958630"/>
              <a:gd name="connsiteY16" fmla="*/ 1203176 h 5359428"/>
              <a:gd name="connsiteX17" fmla="*/ 2595638 w 6958630"/>
              <a:gd name="connsiteY17" fmla="*/ 987730 h 5359428"/>
              <a:gd name="connsiteX18" fmla="*/ 3160829 w 6958630"/>
              <a:gd name="connsiteY18" fmla="*/ 519969 h 5359428"/>
              <a:gd name="connsiteX19" fmla="*/ 3435866 w 6958630"/>
              <a:gd name="connsiteY19" fmla="*/ 593002 h 5359428"/>
              <a:gd name="connsiteX20" fmla="*/ 3450660 w 6958630"/>
              <a:gd name="connsiteY20" fmla="*/ 846023 h 5359428"/>
              <a:gd name="connsiteX21" fmla="*/ 3404013 w 6958630"/>
              <a:gd name="connsiteY21" fmla="*/ 1507320 h 5359428"/>
              <a:gd name="connsiteX22" fmla="*/ 3313870 w 6958630"/>
              <a:gd name="connsiteY22" fmla="*/ 2858302 h 5359428"/>
              <a:gd name="connsiteX23" fmla="*/ 3369572 w 6958630"/>
              <a:gd name="connsiteY23" fmla="*/ 2693390 h 5359428"/>
              <a:gd name="connsiteX24" fmla="*/ 3706860 w 6958630"/>
              <a:gd name="connsiteY24" fmla="*/ 1723708 h 5359428"/>
              <a:gd name="connsiteX25" fmla="*/ 3936380 w 6958630"/>
              <a:gd name="connsiteY25" fmla="*/ 1163361 h 5359428"/>
              <a:gd name="connsiteX26" fmla="*/ 4337132 w 6958630"/>
              <a:gd name="connsiteY26" fmla="*/ 529510 h 5359428"/>
              <a:gd name="connsiteX27" fmla="*/ 4436557 w 6958630"/>
              <a:gd name="connsiteY27" fmla="*/ 432958 h 5359428"/>
              <a:gd name="connsiteX28" fmla="*/ 4508920 w 6958630"/>
              <a:gd name="connsiteY28" fmla="*/ 374766 h 5359428"/>
              <a:gd name="connsiteX29" fmla="*/ 5115640 w 6958630"/>
              <a:gd name="connsiteY29" fmla="*/ 1091229 h 5359428"/>
              <a:gd name="connsiteX30" fmla="*/ 5115018 w 6958630"/>
              <a:gd name="connsiteY30" fmla="*/ 1104037 h 5359428"/>
              <a:gd name="connsiteX31" fmla="*/ 5091987 w 6958630"/>
              <a:gd name="connsiteY31" fmla="*/ 1387995 h 5359428"/>
              <a:gd name="connsiteX32" fmla="*/ 5018983 w 6958630"/>
              <a:gd name="connsiteY32" fmla="*/ 2142938 h 5359428"/>
              <a:gd name="connsiteX33" fmla="*/ 4977834 w 6958630"/>
              <a:gd name="connsiteY33" fmla="*/ 2595032 h 5359428"/>
              <a:gd name="connsiteX34" fmla="*/ 5285289 w 6958630"/>
              <a:gd name="connsiteY34" fmla="*/ 2010773 h 5359428"/>
              <a:gd name="connsiteX35" fmla="*/ 5453822 w 6958630"/>
              <a:gd name="connsiteY35" fmla="*/ 1751596 h 5359428"/>
              <a:gd name="connsiteX36" fmla="*/ 5559908 w 6958630"/>
              <a:gd name="connsiteY36" fmla="*/ 1615856 h 5359428"/>
              <a:gd name="connsiteX37" fmla="*/ 6798419 w 6958630"/>
              <a:gd name="connsiteY37" fmla="*/ 3078389 h 5359428"/>
              <a:gd name="connsiteX38" fmla="*/ 6799849 w 6958630"/>
              <a:gd name="connsiteY38" fmla="*/ 3155851 h 5359428"/>
              <a:gd name="connsiteX39" fmla="*/ 6825478 w 6958630"/>
              <a:gd name="connsiteY39" fmla="*/ 3225821 h 5359428"/>
              <a:gd name="connsiteX40" fmla="*/ 6835906 w 6958630"/>
              <a:gd name="connsiteY40" fmla="*/ 3244195 h 5359428"/>
              <a:gd name="connsiteX41" fmla="*/ 6904383 w 6958630"/>
              <a:gd name="connsiteY41" fmla="*/ 3284010 h 5359428"/>
              <a:gd name="connsiteX42" fmla="*/ 6958630 w 6958630"/>
              <a:gd name="connsiteY42" fmla="*/ 3310750 h 5359428"/>
              <a:gd name="connsiteX43" fmla="*/ 6929041 w 6958630"/>
              <a:gd name="connsiteY43" fmla="*/ 3378717 h 5359428"/>
              <a:gd name="connsiteX44" fmla="*/ 6842183 w 6958630"/>
              <a:gd name="connsiteY44" fmla="*/ 3504197 h 5359428"/>
              <a:gd name="connsiteX45" fmla="*/ 6793322 w 6958630"/>
              <a:gd name="connsiteY45" fmla="*/ 3555557 h 5359428"/>
              <a:gd name="connsiteX46" fmla="*/ 6601492 w 6958630"/>
              <a:gd name="connsiteY46" fmla="*/ 3718004 h 5359428"/>
              <a:gd name="connsiteX47" fmla="*/ 6534262 w 6958630"/>
              <a:gd name="connsiteY47" fmla="*/ 3758927 h 5359428"/>
              <a:gd name="connsiteX48" fmla="*/ 6311623 w 6958630"/>
              <a:gd name="connsiteY48" fmla="*/ 3828455 h 5359428"/>
              <a:gd name="connsiteX49" fmla="*/ 6205393 w 6958630"/>
              <a:gd name="connsiteY49" fmla="*/ 3828809 h 5359428"/>
              <a:gd name="connsiteX50" fmla="*/ 6113794 w 6958630"/>
              <a:gd name="connsiteY50" fmla="*/ 3797240 h 5359428"/>
              <a:gd name="connsiteX51" fmla="*/ 5957763 w 6958630"/>
              <a:gd name="connsiteY51" fmla="*/ 3652471 h 5359428"/>
              <a:gd name="connsiteX52" fmla="*/ 5871500 w 6958630"/>
              <a:gd name="connsiteY52" fmla="*/ 3414408 h 5359428"/>
              <a:gd name="connsiteX53" fmla="*/ 5850157 w 6958630"/>
              <a:gd name="connsiteY53" fmla="*/ 3236186 h 5359428"/>
              <a:gd name="connsiteX54" fmla="*/ 5855735 w 6958630"/>
              <a:gd name="connsiteY54" fmla="*/ 2709763 h 5359428"/>
              <a:gd name="connsiteX55" fmla="*/ 5851694 w 6958630"/>
              <a:gd name="connsiteY55" fmla="*/ 2423524 h 5359428"/>
              <a:gd name="connsiteX56" fmla="*/ 5849753 w 6958630"/>
              <a:gd name="connsiteY56" fmla="*/ 2346604 h 5359428"/>
              <a:gd name="connsiteX57" fmla="*/ 5526775 w 6958630"/>
              <a:gd name="connsiteY57" fmla="*/ 3097071 h 5359428"/>
              <a:gd name="connsiteX58" fmla="*/ 5318032 w 6958630"/>
              <a:gd name="connsiteY58" fmla="*/ 3574844 h 5359428"/>
              <a:gd name="connsiteX59" fmla="*/ 5075333 w 6958630"/>
              <a:gd name="connsiteY59" fmla="*/ 3956380 h 5359428"/>
              <a:gd name="connsiteX60" fmla="*/ 4924556 w 6958630"/>
              <a:gd name="connsiteY60" fmla="*/ 4134603 h 5359428"/>
              <a:gd name="connsiteX61" fmla="*/ 4635048 w 6958630"/>
              <a:gd name="connsiteY61" fmla="*/ 4375727 h 5359428"/>
              <a:gd name="connsiteX62" fmla="*/ 4359931 w 6958630"/>
              <a:gd name="connsiteY62" fmla="*/ 4489634 h 5359428"/>
              <a:gd name="connsiteX63" fmla="*/ 4263401 w 6958630"/>
              <a:gd name="connsiteY63" fmla="*/ 4492344 h 5359428"/>
              <a:gd name="connsiteX64" fmla="*/ 3999117 w 6958630"/>
              <a:gd name="connsiteY64" fmla="*/ 4115284 h 5359428"/>
              <a:gd name="connsiteX65" fmla="*/ 3984242 w 6958630"/>
              <a:gd name="connsiteY65" fmla="*/ 3770618 h 5359428"/>
              <a:gd name="connsiteX66" fmla="*/ 4001623 w 6958630"/>
              <a:gd name="connsiteY66" fmla="*/ 3352685 h 5359428"/>
              <a:gd name="connsiteX67" fmla="*/ 4018520 w 6958630"/>
              <a:gd name="connsiteY67" fmla="*/ 3147604 h 5359428"/>
              <a:gd name="connsiteX68" fmla="*/ 3918918 w 6958630"/>
              <a:gd name="connsiteY68" fmla="*/ 3450336 h 5359428"/>
              <a:gd name="connsiteX69" fmla="*/ 3739925 w 6958630"/>
              <a:gd name="connsiteY69" fmla="*/ 3949076 h 5359428"/>
              <a:gd name="connsiteX70" fmla="*/ 3266332 w 6958630"/>
              <a:gd name="connsiteY70" fmla="*/ 4912986 h 5359428"/>
              <a:gd name="connsiteX71" fmla="*/ 2513418 w 6958630"/>
              <a:gd name="connsiteY71" fmla="*/ 5356836 h 5359428"/>
              <a:gd name="connsiteX72" fmla="*/ 2277187 w 6958630"/>
              <a:gd name="connsiteY72" fmla="*/ 4864456 h 5359428"/>
              <a:gd name="connsiteX73" fmla="*/ 2326260 w 6958630"/>
              <a:gd name="connsiteY73" fmla="*/ 3827159 h 5359428"/>
              <a:gd name="connsiteX74" fmla="*/ 2048658 w 6958630"/>
              <a:gd name="connsiteY74" fmla="*/ 4767608 h 535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6958630" h="5359428">
                <a:moveTo>
                  <a:pt x="1075189" y="3827046"/>
                </a:moveTo>
                <a:lnTo>
                  <a:pt x="0" y="2557377"/>
                </a:lnTo>
                <a:lnTo>
                  <a:pt x="273834" y="1608741"/>
                </a:lnTo>
                <a:cubicBezTo>
                  <a:pt x="334145" y="1408608"/>
                  <a:pt x="392071" y="1202115"/>
                  <a:pt x="455464" y="999730"/>
                </a:cubicBezTo>
                <a:lnTo>
                  <a:pt x="485946" y="908688"/>
                </a:lnTo>
                <a:lnTo>
                  <a:pt x="1558997" y="0"/>
                </a:lnTo>
                <a:lnTo>
                  <a:pt x="1563049" y="27045"/>
                </a:lnTo>
                <a:cubicBezTo>
                  <a:pt x="1562735" y="86987"/>
                  <a:pt x="1547759" y="152392"/>
                  <a:pt x="1535672" y="216059"/>
                </a:cubicBezTo>
                <a:cubicBezTo>
                  <a:pt x="1503981" y="382974"/>
                  <a:pt x="1464447" y="546473"/>
                  <a:pt x="1431946" y="713034"/>
                </a:cubicBezTo>
                <a:cubicBezTo>
                  <a:pt x="1382793" y="964760"/>
                  <a:pt x="1338086" y="1218724"/>
                  <a:pt x="1308739" y="1477047"/>
                </a:cubicBezTo>
                <a:cubicBezTo>
                  <a:pt x="1231248" y="2159782"/>
                  <a:pt x="1132111" y="2846427"/>
                  <a:pt x="1089432" y="3528781"/>
                </a:cubicBezTo>
                <a:close/>
                <a:moveTo>
                  <a:pt x="1996876" y="4915447"/>
                </a:moveTo>
                <a:lnTo>
                  <a:pt x="1398177" y="4208456"/>
                </a:lnTo>
                <a:lnTo>
                  <a:pt x="1590566" y="3612303"/>
                </a:lnTo>
                <a:cubicBezTo>
                  <a:pt x="1715230" y="3241369"/>
                  <a:pt x="1843451" y="2871731"/>
                  <a:pt x="1974502" y="2503977"/>
                </a:cubicBezTo>
                <a:cubicBezTo>
                  <a:pt x="2096579" y="2175213"/>
                  <a:pt x="2219221" y="1846685"/>
                  <a:pt x="2349059" y="1522044"/>
                </a:cubicBezTo>
                <a:cubicBezTo>
                  <a:pt x="2389159" y="1414734"/>
                  <a:pt x="2429178" y="1307659"/>
                  <a:pt x="2474209" y="1203176"/>
                </a:cubicBezTo>
                <a:cubicBezTo>
                  <a:pt x="2506143" y="1124254"/>
                  <a:pt x="2552548" y="1056875"/>
                  <a:pt x="2595638" y="987730"/>
                </a:cubicBezTo>
                <a:cubicBezTo>
                  <a:pt x="2735420" y="763450"/>
                  <a:pt x="2952975" y="562376"/>
                  <a:pt x="3160829" y="519969"/>
                </a:cubicBezTo>
                <a:cubicBezTo>
                  <a:pt x="3221463" y="507600"/>
                  <a:pt x="3408378" y="455772"/>
                  <a:pt x="3435866" y="593002"/>
                </a:cubicBezTo>
                <a:cubicBezTo>
                  <a:pt x="3451954" y="673808"/>
                  <a:pt x="3452762" y="759680"/>
                  <a:pt x="3450660" y="846023"/>
                </a:cubicBezTo>
                <a:cubicBezTo>
                  <a:pt x="3439018" y="1066181"/>
                  <a:pt x="3418080" y="1287045"/>
                  <a:pt x="3404013" y="1507320"/>
                </a:cubicBezTo>
                <a:cubicBezTo>
                  <a:pt x="3374990" y="1957648"/>
                  <a:pt x="3346451" y="2407856"/>
                  <a:pt x="3313870" y="2858302"/>
                </a:cubicBezTo>
                <a:cubicBezTo>
                  <a:pt x="3332222" y="2805412"/>
                  <a:pt x="3350735" y="2749342"/>
                  <a:pt x="3369572" y="2693390"/>
                </a:cubicBezTo>
                <a:cubicBezTo>
                  <a:pt x="3474752" y="2366865"/>
                  <a:pt x="3593999" y="2046700"/>
                  <a:pt x="3706860" y="1723708"/>
                </a:cubicBezTo>
                <a:cubicBezTo>
                  <a:pt x="3783340" y="1536886"/>
                  <a:pt x="3858769" y="1349476"/>
                  <a:pt x="3936380" y="1163361"/>
                </a:cubicBezTo>
                <a:cubicBezTo>
                  <a:pt x="4039217" y="909043"/>
                  <a:pt x="4175037" y="699134"/>
                  <a:pt x="4337132" y="529510"/>
                </a:cubicBezTo>
                <a:cubicBezTo>
                  <a:pt x="4369187" y="495998"/>
                  <a:pt x="4402385" y="463487"/>
                  <a:pt x="4436557" y="432958"/>
                </a:cubicBezTo>
                <a:lnTo>
                  <a:pt x="4508920" y="374766"/>
                </a:lnTo>
                <a:lnTo>
                  <a:pt x="5115640" y="1091229"/>
                </a:lnTo>
                <a:lnTo>
                  <a:pt x="5115018" y="1104037"/>
                </a:lnTo>
                <a:cubicBezTo>
                  <a:pt x="5108399" y="1198640"/>
                  <a:pt x="5100234" y="1293347"/>
                  <a:pt x="5091987" y="1387995"/>
                </a:cubicBezTo>
                <a:cubicBezTo>
                  <a:pt x="5067734" y="1639603"/>
                  <a:pt x="5042105" y="1891330"/>
                  <a:pt x="5018983" y="2142938"/>
                </a:cubicBezTo>
                <a:cubicBezTo>
                  <a:pt x="5005644" y="2293597"/>
                  <a:pt x="4990608" y="2444372"/>
                  <a:pt x="4977834" y="2595032"/>
                </a:cubicBezTo>
                <a:cubicBezTo>
                  <a:pt x="5067734" y="2390188"/>
                  <a:pt x="5169275" y="2193354"/>
                  <a:pt x="5285289" y="2010773"/>
                </a:cubicBezTo>
                <a:cubicBezTo>
                  <a:pt x="5338404" y="1920778"/>
                  <a:pt x="5394693" y="1834376"/>
                  <a:pt x="5453822" y="1751596"/>
                </a:cubicBezTo>
                <a:lnTo>
                  <a:pt x="5559908" y="1615856"/>
                </a:lnTo>
                <a:lnTo>
                  <a:pt x="6798419" y="3078389"/>
                </a:lnTo>
                <a:lnTo>
                  <a:pt x="6799849" y="3155851"/>
                </a:lnTo>
                <a:cubicBezTo>
                  <a:pt x="6805751" y="3181058"/>
                  <a:pt x="6814160" y="3204853"/>
                  <a:pt x="6825478" y="3225821"/>
                </a:cubicBezTo>
                <a:cubicBezTo>
                  <a:pt x="6828712" y="3232181"/>
                  <a:pt x="6832269" y="3238306"/>
                  <a:pt x="6835906" y="3244195"/>
                </a:cubicBezTo>
                <a:cubicBezTo>
                  <a:pt x="6855794" y="3263514"/>
                  <a:pt x="6880938" y="3272467"/>
                  <a:pt x="6904383" y="3284010"/>
                </a:cubicBezTo>
                <a:cubicBezTo>
                  <a:pt x="6938742" y="3300266"/>
                  <a:pt x="6916024" y="3284717"/>
                  <a:pt x="6958630" y="3310750"/>
                </a:cubicBezTo>
                <a:cubicBezTo>
                  <a:pt x="6951435" y="3334898"/>
                  <a:pt x="6940360" y="3357279"/>
                  <a:pt x="6929041" y="3378717"/>
                </a:cubicBezTo>
                <a:cubicBezTo>
                  <a:pt x="6903291" y="3424363"/>
                  <a:pt x="6873864" y="3465944"/>
                  <a:pt x="6842183" y="3504197"/>
                </a:cubicBezTo>
                <a:lnTo>
                  <a:pt x="6793322" y="3555557"/>
                </a:lnTo>
                <a:lnTo>
                  <a:pt x="6601492" y="3718004"/>
                </a:lnTo>
                <a:lnTo>
                  <a:pt x="6534262" y="3758927"/>
                </a:lnTo>
                <a:cubicBezTo>
                  <a:pt x="6461450" y="3795767"/>
                  <a:pt x="6386122" y="3819325"/>
                  <a:pt x="6311623" y="3828455"/>
                </a:cubicBezTo>
                <a:cubicBezTo>
                  <a:pt x="6276293" y="3828455"/>
                  <a:pt x="6240237" y="3833285"/>
                  <a:pt x="6205393" y="3828809"/>
                </a:cubicBezTo>
                <a:cubicBezTo>
                  <a:pt x="6173378" y="3824333"/>
                  <a:pt x="6144192" y="3808312"/>
                  <a:pt x="6113794" y="3797240"/>
                </a:cubicBezTo>
                <a:cubicBezTo>
                  <a:pt x="6049199" y="3774269"/>
                  <a:pt x="6001500" y="3714077"/>
                  <a:pt x="5957763" y="3652471"/>
                </a:cubicBezTo>
                <a:cubicBezTo>
                  <a:pt x="5909660" y="3591336"/>
                  <a:pt x="5886294" y="3502990"/>
                  <a:pt x="5871500" y="3414408"/>
                </a:cubicBezTo>
                <a:cubicBezTo>
                  <a:pt x="5863092" y="3355511"/>
                  <a:pt x="5850885" y="3297792"/>
                  <a:pt x="5850157" y="3236186"/>
                </a:cubicBezTo>
                <a:cubicBezTo>
                  <a:pt x="5850400" y="3061026"/>
                  <a:pt x="5852987" y="2885394"/>
                  <a:pt x="5855735" y="2709763"/>
                </a:cubicBezTo>
                <a:cubicBezTo>
                  <a:pt x="5857594" y="2613761"/>
                  <a:pt x="5854684" y="2518584"/>
                  <a:pt x="5851694" y="2423524"/>
                </a:cubicBezTo>
                <a:cubicBezTo>
                  <a:pt x="5851046" y="2397963"/>
                  <a:pt x="5850480" y="2372284"/>
                  <a:pt x="5849753" y="2346604"/>
                </a:cubicBezTo>
                <a:cubicBezTo>
                  <a:pt x="5734872" y="2591499"/>
                  <a:pt x="5634056" y="2847583"/>
                  <a:pt x="5526775" y="3097071"/>
                </a:cubicBezTo>
                <a:cubicBezTo>
                  <a:pt x="5457490" y="3256446"/>
                  <a:pt x="5393056" y="3419474"/>
                  <a:pt x="5318032" y="3574844"/>
                </a:cubicBezTo>
                <a:cubicBezTo>
                  <a:pt x="5246403" y="3710896"/>
                  <a:pt x="5166607" y="3842120"/>
                  <a:pt x="5075333" y="3956380"/>
                </a:cubicBezTo>
                <a:cubicBezTo>
                  <a:pt x="5025128" y="4015748"/>
                  <a:pt x="4978641" y="4081831"/>
                  <a:pt x="4924556" y="4134603"/>
                </a:cubicBezTo>
                <a:cubicBezTo>
                  <a:pt x="4833929" y="4229308"/>
                  <a:pt x="4736267" y="4308114"/>
                  <a:pt x="4635048" y="4375727"/>
                </a:cubicBezTo>
                <a:cubicBezTo>
                  <a:pt x="4545875" y="4429088"/>
                  <a:pt x="4453550" y="4473143"/>
                  <a:pt x="4359931" y="4489634"/>
                </a:cubicBezTo>
                <a:cubicBezTo>
                  <a:pt x="4327754" y="4490459"/>
                  <a:pt x="4295577" y="4491401"/>
                  <a:pt x="4263401" y="4492344"/>
                </a:cubicBezTo>
                <a:cubicBezTo>
                  <a:pt x="4105994" y="4496819"/>
                  <a:pt x="4027817" y="4311764"/>
                  <a:pt x="3999117" y="4115284"/>
                </a:cubicBezTo>
                <a:cubicBezTo>
                  <a:pt x="3982786" y="4003734"/>
                  <a:pt x="3980765" y="3887470"/>
                  <a:pt x="3984242" y="3770618"/>
                </a:cubicBezTo>
                <a:cubicBezTo>
                  <a:pt x="3985940" y="3631857"/>
                  <a:pt x="3992407" y="3492388"/>
                  <a:pt x="4001623" y="3352685"/>
                </a:cubicBezTo>
                <a:cubicBezTo>
                  <a:pt x="4006959" y="3284364"/>
                  <a:pt x="4012699" y="3215926"/>
                  <a:pt x="4018520" y="3147604"/>
                </a:cubicBezTo>
                <a:cubicBezTo>
                  <a:pt x="3985453" y="3248554"/>
                  <a:pt x="3952307" y="3349504"/>
                  <a:pt x="3918918" y="3450336"/>
                </a:cubicBezTo>
                <a:cubicBezTo>
                  <a:pt x="3863701" y="3618781"/>
                  <a:pt x="3803389" y="3784753"/>
                  <a:pt x="3739925" y="3949076"/>
                </a:cubicBezTo>
                <a:cubicBezTo>
                  <a:pt x="3602570" y="4304932"/>
                  <a:pt x="3480251" y="4636405"/>
                  <a:pt x="3266332" y="4912986"/>
                </a:cubicBezTo>
                <a:cubicBezTo>
                  <a:pt x="3060904" y="5178613"/>
                  <a:pt x="2795488" y="5385106"/>
                  <a:pt x="2513418" y="5356836"/>
                </a:cubicBezTo>
                <a:cubicBezTo>
                  <a:pt x="2339681" y="5339519"/>
                  <a:pt x="2280583" y="5083199"/>
                  <a:pt x="2277187" y="4864456"/>
                </a:cubicBezTo>
                <a:cubicBezTo>
                  <a:pt x="2271851" y="4517434"/>
                  <a:pt x="2288263" y="4169823"/>
                  <a:pt x="2326260" y="3827159"/>
                </a:cubicBezTo>
                <a:cubicBezTo>
                  <a:pt x="2310617" y="3874203"/>
                  <a:pt x="2212992" y="4278650"/>
                  <a:pt x="2048658" y="4767608"/>
                </a:cubicBezTo>
                <a:close/>
              </a:path>
            </a:pathLst>
          </a:custGeom>
          <a:gradFill>
            <a:gsLst>
              <a:gs pos="0">
                <a:srgbClr val="00316C"/>
              </a:gs>
              <a:gs pos="23000">
                <a:srgbClr val="01326E"/>
              </a:gs>
              <a:gs pos="39000">
                <a:srgbClr val="063878"/>
              </a:gs>
              <a:gs pos="53000">
                <a:srgbClr val="0F4287"/>
              </a:gs>
              <a:gs pos="67000">
                <a:srgbClr val="1C519E"/>
              </a:gs>
              <a:gs pos="79000">
                <a:srgbClr val="2C63BA"/>
              </a:gs>
              <a:gs pos="91000">
                <a:srgbClr val="4079DD"/>
              </a:gs>
              <a:gs pos="100000">
                <a:srgbClr val="538FFF"/>
              </a:gs>
            </a:gsLst>
            <a:lin ang="13500000" scaled="1"/>
          </a:gradFill>
          <a:ln w="6729"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C3A111F7-7820-764F-3959-6534A1CD7D09}"/>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040418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Blue">
    <p:bg>
      <p:bgRef idx="1001">
        <a:schemeClr val="bg2"/>
      </p:bgRef>
    </p:bg>
    <p:spTree>
      <p:nvGrpSpPr>
        <p:cNvPr id="1" name=""/>
        <p:cNvGrpSpPr/>
        <p:nvPr/>
      </p:nvGrpSpPr>
      <p:grpSpPr>
        <a:xfrm>
          <a:off x="0" y="0"/>
          <a:ext cx="0" cy="0"/>
          <a:chOff x="0" y="0"/>
          <a:chExt cx="0" cy="0"/>
        </a:xfrm>
      </p:grpSpPr>
      <p:sp>
        <p:nvSpPr>
          <p:cNvPr id="9" name="Gradient Box">
            <a:extLst>
              <a:ext uri="{FF2B5EF4-FFF2-40B4-BE49-F238E27FC236}">
                <a16:creationId xmlns:a16="http://schemas.microsoft.com/office/drawing/2014/main" id="{20D1D068-8642-4E0E-61F9-86262A4F54E3}"/>
              </a:ext>
            </a:extLst>
          </p:cNvPr>
          <p:cNvSpPr/>
          <p:nvPr/>
        </p:nvSpPr>
        <p:spPr bwMode="white">
          <a:xfrm>
            <a:off x="0" y="2006601"/>
            <a:ext cx="6096000" cy="4851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T"/>
          </a:p>
        </p:txBody>
      </p:sp>
      <p:sp>
        <p:nvSpPr>
          <p:cNvPr id="11" name="Squiggle">
            <a:extLst>
              <a:ext uri="{FF2B5EF4-FFF2-40B4-BE49-F238E27FC236}">
                <a16:creationId xmlns:a16="http://schemas.microsoft.com/office/drawing/2014/main" id="{9A328A6D-FD87-898A-9B1A-71C3E60F33FF}"/>
              </a:ext>
            </a:extLst>
          </p:cNvPr>
          <p:cNvSpPr/>
          <p:nvPr/>
        </p:nvSpPr>
        <p:spPr bwMode="invGray">
          <a:xfrm rot="7815528">
            <a:off x="-837800" y="-132284"/>
            <a:ext cx="9817614" cy="7561373"/>
          </a:xfrm>
          <a:custGeom>
            <a:avLst/>
            <a:gdLst>
              <a:gd name="connsiteX0" fmla="*/ 1075189 w 6958630"/>
              <a:gd name="connsiteY0" fmla="*/ 3827046 h 5359428"/>
              <a:gd name="connsiteX1" fmla="*/ 0 w 6958630"/>
              <a:gd name="connsiteY1" fmla="*/ 2557377 h 5359428"/>
              <a:gd name="connsiteX2" fmla="*/ 273834 w 6958630"/>
              <a:gd name="connsiteY2" fmla="*/ 1608741 h 5359428"/>
              <a:gd name="connsiteX3" fmla="*/ 455464 w 6958630"/>
              <a:gd name="connsiteY3" fmla="*/ 999730 h 5359428"/>
              <a:gd name="connsiteX4" fmla="*/ 485946 w 6958630"/>
              <a:gd name="connsiteY4" fmla="*/ 908688 h 5359428"/>
              <a:gd name="connsiteX5" fmla="*/ 1558997 w 6958630"/>
              <a:gd name="connsiteY5" fmla="*/ 0 h 5359428"/>
              <a:gd name="connsiteX6" fmla="*/ 1563049 w 6958630"/>
              <a:gd name="connsiteY6" fmla="*/ 27045 h 5359428"/>
              <a:gd name="connsiteX7" fmla="*/ 1535672 w 6958630"/>
              <a:gd name="connsiteY7" fmla="*/ 216059 h 5359428"/>
              <a:gd name="connsiteX8" fmla="*/ 1431946 w 6958630"/>
              <a:gd name="connsiteY8" fmla="*/ 713034 h 5359428"/>
              <a:gd name="connsiteX9" fmla="*/ 1308739 w 6958630"/>
              <a:gd name="connsiteY9" fmla="*/ 1477047 h 5359428"/>
              <a:gd name="connsiteX10" fmla="*/ 1089432 w 6958630"/>
              <a:gd name="connsiteY10" fmla="*/ 3528781 h 5359428"/>
              <a:gd name="connsiteX11" fmla="*/ 1996876 w 6958630"/>
              <a:gd name="connsiteY11" fmla="*/ 4915447 h 5359428"/>
              <a:gd name="connsiteX12" fmla="*/ 1398177 w 6958630"/>
              <a:gd name="connsiteY12" fmla="*/ 4208456 h 5359428"/>
              <a:gd name="connsiteX13" fmla="*/ 1590566 w 6958630"/>
              <a:gd name="connsiteY13" fmla="*/ 3612303 h 5359428"/>
              <a:gd name="connsiteX14" fmla="*/ 1974502 w 6958630"/>
              <a:gd name="connsiteY14" fmla="*/ 2503977 h 5359428"/>
              <a:gd name="connsiteX15" fmla="*/ 2349059 w 6958630"/>
              <a:gd name="connsiteY15" fmla="*/ 1522044 h 5359428"/>
              <a:gd name="connsiteX16" fmla="*/ 2474209 w 6958630"/>
              <a:gd name="connsiteY16" fmla="*/ 1203176 h 5359428"/>
              <a:gd name="connsiteX17" fmla="*/ 2595638 w 6958630"/>
              <a:gd name="connsiteY17" fmla="*/ 987730 h 5359428"/>
              <a:gd name="connsiteX18" fmla="*/ 3160829 w 6958630"/>
              <a:gd name="connsiteY18" fmla="*/ 519969 h 5359428"/>
              <a:gd name="connsiteX19" fmla="*/ 3435866 w 6958630"/>
              <a:gd name="connsiteY19" fmla="*/ 593002 h 5359428"/>
              <a:gd name="connsiteX20" fmla="*/ 3450660 w 6958630"/>
              <a:gd name="connsiteY20" fmla="*/ 846023 h 5359428"/>
              <a:gd name="connsiteX21" fmla="*/ 3404013 w 6958630"/>
              <a:gd name="connsiteY21" fmla="*/ 1507320 h 5359428"/>
              <a:gd name="connsiteX22" fmla="*/ 3313870 w 6958630"/>
              <a:gd name="connsiteY22" fmla="*/ 2858302 h 5359428"/>
              <a:gd name="connsiteX23" fmla="*/ 3369572 w 6958630"/>
              <a:gd name="connsiteY23" fmla="*/ 2693390 h 5359428"/>
              <a:gd name="connsiteX24" fmla="*/ 3706860 w 6958630"/>
              <a:gd name="connsiteY24" fmla="*/ 1723708 h 5359428"/>
              <a:gd name="connsiteX25" fmla="*/ 3936380 w 6958630"/>
              <a:gd name="connsiteY25" fmla="*/ 1163361 h 5359428"/>
              <a:gd name="connsiteX26" fmla="*/ 4337132 w 6958630"/>
              <a:gd name="connsiteY26" fmla="*/ 529510 h 5359428"/>
              <a:gd name="connsiteX27" fmla="*/ 4436557 w 6958630"/>
              <a:gd name="connsiteY27" fmla="*/ 432958 h 5359428"/>
              <a:gd name="connsiteX28" fmla="*/ 4508920 w 6958630"/>
              <a:gd name="connsiteY28" fmla="*/ 374766 h 5359428"/>
              <a:gd name="connsiteX29" fmla="*/ 5115640 w 6958630"/>
              <a:gd name="connsiteY29" fmla="*/ 1091229 h 5359428"/>
              <a:gd name="connsiteX30" fmla="*/ 5115018 w 6958630"/>
              <a:gd name="connsiteY30" fmla="*/ 1104037 h 5359428"/>
              <a:gd name="connsiteX31" fmla="*/ 5091987 w 6958630"/>
              <a:gd name="connsiteY31" fmla="*/ 1387995 h 5359428"/>
              <a:gd name="connsiteX32" fmla="*/ 5018983 w 6958630"/>
              <a:gd name="connsiteY32" fmla="*/ 2142938 h 5359428"/>
              <a:gd name="connsiteX33" fmla="*/ 4977834 w 6958630"/>
              <a:gd name="connsiteY33" fmla="*/ 2595032 h 5359428"/>
              <a:gd name="connsiteX34" fmla="*/ 5285289 w 6958630"/>
              <a:gd name="connsiteY34" fmla="*/ 2010773 h 5359428"/>
              <a:gd name="connsiteX35" fmla="*/ 5453822 w 6958630"/>
              <a:gd name="connsiteY35" fmla="*/ 1751596 h 5359428"/>
              <a:gd name="connsiteX36" fmla="*/ 5559908 w 6958630"/>
              <a:gd name="connsiteY36" fmla="*/ 1615856 h 5359428"/>
              <a:gd name="connsiteX37" fmla="*/ 6798419 w 6958630"/>
              <a:gd name="connsiteY37" fmla="*/ 3078389 h 5359428"/>
              <a:gd name="connsiteX38" fmla="*/ 6799849 w 6958630"/>
              <a:gd name="connsiteY38" fmla="*/ 3155851 h 5359428"/>
              <a:gd name="connsiteX39" fmla="*/ 6825478 w 6958630"/>
              <a:gd name="connsiteY39" fmla="*/ 3225821 h 5359428"/>
              <a:gd name="connsiteX40" fmla="*/ 6835906 w 6958630"/>
              <a:gd name="connsiteY40" fmla="*/ 3244195 h 5359428"/>
              <a:gd name="connsiteX41" fmla="*/ 6904383 w 6958630"/>
              <a:gd name="connsiteY41" fmla="*/ 3284010 h 5359428"/>
              <a:gd name="connsiteX42" fmla="*/ 6958630 w 6958630"/>
              <a:gd name="connsiteY42" fmla="*/ 3310750 h 5359428"/>
              <a:gd name="connsiteX43" fmla="*/ 6929041 w 6958630"/>
              <a:gd name="connsiteY43" fmla="*/ 3378717 h 5359428"/>
              <a:gd name="connsiteX44" fmla="*/ 6842183 w 6958630"/>
              <a:gd name="connsiteY44" fmla="*/ 3504197 h 5359428"/>
              <a:gd name="connsiteX45" fmla="*/ 6793322 w 6958630"/>
              <a:gd name="connsiteY45" fmla="*/ 3555557 h 5359428"/>
              <a:gd name="connsiteX46" fmla="*/ 6601492 w 6958630"/>
              <a:gd name="connsiteY46" fmla="*/ 3718004 h 5359428"/>
              <a:gd name="connsiteX47" fmla="*/ 6534262 w 6958630"/>
              <a:gd name="connsiteY47" fmla="*/ 3758927 h 5359428"/>
              <a:gd name="connsiteX48" fmla="*/ 6311623 w 6958630"/>
              <a:gd name="connsiteY48" fmla="*/ 3828455 h 5359428"/>
              <a:gd name="connsiteX49" fmla="*/ 6205393 w 6958630"/>
              <a:gd name="connsiteY49" fmla="*/ 3828809 h 5359428"/>
              <a:gd name="connsiteX50" fmla="*/ 6113794 w 6958630"/>
              <a:gd name="connsiteY50" fmla="*/ 3797240 h 5359428"/>
              <a:gd name="connsiteX51" fmla="*/ 5957763 w 6958630"/>
              <a:gd name="connsiteY51" fmla="*/ 3652471 h 5359428"/>
              <a:gd name="connsiteX52" fmla="*/ 5871500 w 6958630"/>
              <a:gd name="connsiteY52" fmla="*/ 3414408 h 5359428"/>
              <a:gd name="connsiteX53" fmla="*/ 5850157 w 6958630"/>
              <a:gd name="connsiteY53" fmla="*/ 3236186 h 5359428"/>
              <a:gd name="connsiteX54" fmla="*/ 5855735 w 6958630"/>
              <a:gd name="connsiteY54" fmla="*/ 2709763 h 5359428"/>
              <a:gd name="connsiteX55" fmla="*/ 5851694 w 6958630"/>
              <a:gd name="connsiteY55" fmla="*/ 2423524 h 5359428"/>
              <a:gd name="connsiteX56" fmla="*/ 5849753 w 6958630"/>
              <a:gd name="connsiteY56" fmla="*/ 2346604 h 5359428"/>
              <a:gd name="connsiteX57" fmla="*/ 5526775 w 6958630"/>
              <a:gd name="connsiteY57" fmla="*/ 3097071 h 5359428"/>
              <a:gd name="connsiteX58" fmla="*/ 5318032 w 6958630"/>
              <a:gd name="connsiteY58" fmla="*/ 3574844 h 5359428"/>
              <a:gd name="connsiteX59" fmla="*/ 5075333 w 6958630"/>
              <a:gd name="connsiteY59" fmla="*/ 3956380 h 5359428"/>
              <a:gd name="connsiteX60" fmla="*/ 4924556 w 6958630"/>
              <a:gd name="connsiteY60" fmla="*/ 4134603 h 5359428"/>
              <a:gd name="connsiteX61" fmla="*/ 4635048 w 6958630"/>
              <a:gd name="connsiteY61" fmla="*/ 4375727 h 5359428"/>
              <a:gd name="connsiteX62" fmla="*/ 4359931 w 6958630"/>
              <a:gd name="connsiteY62" fmla="*/ 4489634 h 5359428"/>
              <a:gd name="connsiteX63" fmla="*/ 4263401 w 6958630"/>
              <a:gd name="connsiteY63" fmla="*/ 4492344 h 5359428"/>
              <a:gd name="connsiteX64" fmla="*/ 3999117 w 6958630"/>
              <a:gd name="connsiteY64" fmla="*/ 4115284 h 5359428"/>
              <a:gd name="connsiteX65" fmla="*/ 3984242 w 6958630"/>
              <a:gd name="connsiteY65" fmla="*/ 3770618 h 5359428"/>
              <a:gd name="connsiteX66" fmla="*/ 4001623 w 6958630"/>
              <a:gd name="connsiteY66" fmla="*/ 3352685 h 5359428"/>
              <a:gd name="connsiteX67" fmla="*/ 4018520 w 6958630"/>
              <a:gd name="connsiteY67" fmla="*/ 3147604 h 5359428"/>
              <a:gd name="connsiteX68" fmla="*/ 3918918 w 6958630"/>
              <a:gd name="connsiteY68" fmla="*/ 3450336 h 5359428"/>
              <a:gd name="connsiteX69" fmla="*/ 3739925 w 6958630"/>
              <a:gd name="connsiteY69" fmla="*/ 3949076 h 5359428"/>
              <a:gd name="connsiteX70" fmla="*/ 3266332 w 6958630"/>
              <a:gd name="connsiteY70" fmla="*/ 4912986 h 5359428"/>
              <a:gd name="connsiteX71" fmla="*/ 2513418 w 6958630"/>
              <a:gd name="connsiteY71" fmla="*/ 5356836 h 5359428"/>
              <a:gd name="connsiteX72" fmla="*/ 2277187 w 6958630"/>
              <a:gd name="connsiteY72" fmla="*/ 4864456 h 5359428"/>
              <a:gd name="connsiteX73" fmla="*/ 2326260 w 6958630"/>
              <a:gd name="connsiteY73" fmla="*/ 3827159 h 5359428"/>
              <a:gd name="connsiteX74" fmla="*/ 2048658 w 6958630"/>
              <a:gd name="connsiteY74" fmla="*/ 4767608 h 535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6958630" h="5359428">
                <a:moveTo>
                  <a:pt x="1075189" y="3827046"/>
                </a:moveTo>
                <a:lnTo>
                  <a:pt x="0" y="2557377"/>
                </a:lnTo>
                <a:lnTo>
                  <a:pt x="273834" y="1608741"/>
                </a:lnTo>
                <a:cubicBezTo>
                  <a:pt x="334145" y="1408608"/>
                  <a:pt x="392071" y="1202115"/>
                  <a:pt x="455464" y="999730"/>
                </a:cubicBezTo>
                <a:lnTo>
                  <a:pt x="485946" y="908688"/>
                </a:lnTo>
                <a:lnTo>
                  <a:pt x="1558997" y="0"/>
                </a:lnTo>
                <a:lnTo>
                  <a:pt x="1563049" y="27045"/>
                </a:lnTo>
                <a:cubicBezTo>
                  <a:pt x="1562735" y="86987"/>
                  <a:pt x="1547759" y="152392"/>
                  <a:pt x="1535672" y="216059"/>
                </a:cubicBezTo>
                <a:cubicBezTo>
                  <a:pt x="1503981" y="382974"/>
                  <a:pt x="1464447" y="546473"/>
                  <a:pt x="1431946" y="713034"/>
                </a:cubicBezTo>
                <a:cubicBezTo>
                  <a:pt x="1382793" y="964760"/>
                  <a:pt x="1338086" y="1218724"/>
                  <a:pt x="1308739" y="1477047"/>
                </a:cubicBezTo>
                <a:cubicBezTo>
                  <a:pt x="1231248" y="2159782"/>
                  <a:pt x="1132111" y="2846427"/>
                  <a:pt x="1089432" y="3528781"/>
                </a:cubicBezTo>
                <a:close/>
                <a:moveTo>
                  <a:pt x="1996876" y="4915447"/>
                </a:moveTo>
                <a:lnTo>
                  <a:pt x="1398177" y="4208456"/>
                </a:lnTo>
                <a:lnTo>
                  <a:pt x="1590566" y="3612303"/>
                </a:lnTo>
                <a:cubicBezTo>
                  <a:pt x="1715230" y="3241369"/>
                  <a:pt x="1843451" y="2871731"/>
                  <a:pt x="1974502" y="2503977"/>
                </a:cubicBezTo>
                <a:cubicBezTo>
                  <a:pt x="2096579" y="2175213"/>
                  <a:pt x="2219221" y="1846685"/>
                  <a:pt x="2349059" y="1522044"/>
                </a:cubicBezTo>
                <a:cubicBezTo>
                  <a:pt x="2389159" y="1414734"/>
                  <a:pt x="2429178" y="1307659"/>
                  <a:pt x="2474209" y="1203176"/>
                </a:cubicBezTo>
                <a:cubicBezTo>
                  <a:pt x="2506143" y="1124254"/>
                  <a:pt x="2552548" y="1056875"/>
                  <a:pt x="2595638" y="987730"/>
                </a:cubicBezTo>
                <a:cubicBezTo>
                  <a:pt x="2735420" y="763450"/>
                  <a:pt x="2952975" y="562376"/>
                  <a:pt x="3160829" y="519969"/>
                </a:cubicBezTo>
                <a:cubicBezTo>
                  <a:pt x="3221463" y="507600"/>
                  <a:pt x="3408378" y="455772"/>
                  <a:pt x="3435866" y="593002"/>
                </a:cubicBezTo>
                <a:cubicBezTo>
                  <a:pt x="3451954" y="673808"/>
                  <a:pt x="3452762" y="759680"/>
                  <a:pt x="3450660" y="846023"/>
                </a:cubicBezTo>
                <a:cubicBezTo>
                  <a:pt x="3439018" y="1066181"/>
                  <a:pt x="3418080" y="1287045"/>
                  <a:pt x="3404013" y="1507320"/>
                </a:cubicBezTo>
                <a:cubicBezTo>
                  <a:pt x="3374990" y="1957648"/>
                  <a:pt x="3346451" y="2407856"/>
                  <a:pt x="3313870" y="2858302"/>
                </a:cubicBezTo>
                <a:cubicBezTo>
                  <a:pt x="3332222" y="2805412"/>
                  <a:pt x="3350735" y="2749342"/>
                  <a:pt x="3369572" y="2693390"/>
                </a:cubicBezTo>
                <a:cubicBezTo>
                  <a:pt x="3474752" y="2366865"/>
                  <a:pt x="3593999" y="2046700"/>
                  <a:pt x="3706860" y="1723708"/>
                </a:cubicBezTo>
                <a:cubicBezTo>
                  <a:pt x="3783340" y="1536886"/>
                  <a:pt x="3858769" y="1349476"/>
                  <a:pt x="3936380" y="1163361"/>
                </a:cubicBezTo>
                <a:cubicBezTo>
                  <a:pt x="4039217" y="909043"/>
                  <a:pt x="4175037" y="699134"/>
                  <a:pt x="4337132" y="529510"/>
                </a:cubicBezTo>
                <a:cubicBezTo>
                  <a:pt x="4369187" y="495998"/>
                  <a:pt x="4402385" y="463487"/>
                  <a:pt x="4436557" y="432958"/>
                </a:cubicBezTo>
                <a:lnTo>
                  <a:pt x="4508920" y="374766"/>
                </a:lnTo>
                <a:lnTo>
                  <a:pt x="5115640" y="1091229"/>
                </a:lnTo>
                <a:lnTo>
                  <a:pt x="5115018" y="1104037"/>
                </a:lnTo>
                <a:cubicBezTo>
                  <a:pt x="5108399" y="1198640"/>
                  <a:pt x="5100234" y="1293347"/>
                  <a:pt x="5091987" y="1387995"/>
                </a:cubicBezTo>
                <a:cubicBezTo>
                  <a:pt x="5067734" y="1639603"/>
                  <a:pt x="5042105" y="1891330"/>
                  <a:pt x="5018983" y="2142938"/>
                </a:cubicBezTo>
                <a:cubicBezTo>
                  <a:pt x="5005644" y="2293597"/>
                  <a:pt x="4990608" y="2444372"/>
                  <a:pt x="4977834" y="2595032"/>
                </a:cubicBezTo>
                <a:cubicBezTo>
                  <a:pt x="5067734" y="2390188"/>
                  <a:pt x="5169275" y="2193354"/>
                  <a:pt x="5285289" y="2010773"/>
                </a:cubicBezTo>
                <a:cubicBezTo>
                  <a:pt x="5338404" y="1920778"/>
                  <a:pt x="5394693" y="1834376"/>
                  <a:pt x="5453822" y="1751596"/>
                </a:cubicBezTo>
                <a:lnTo>
                  <a:pt x="5559908" y="1615856"/>
                </a:lnTo>
                <a:lnTo>
                  <a:pt x="6798419" y="3078389"/>
                </a:lnTo>
                <a:lnTo>
                  <a:pt x="6799849" y="3155851"/>
                </a:lnTo>
                <a:cubicBezTo>
                  <a:pt x="6805751" y="3181058"/>
                  <a:pt x="6814160" y="3204853"/>
                  <a:pt x="6825478" y="3225821"/>
                </a:cubicBezTo>
                <a:cubicBezTo>
                  <a:pt x="6828712" y="3232181"/>
                  <a:pt x="6832269" y="3238306"/>
                  <a:pt x="6835906" y="3244195"/>
                </a:cubicBezTo>
                <a:cubicBezTo>
                  <a:pt x="6855794" y="3263514"/>
                  <a:pt x="6880938" y="3272467"/>
                  <a:pt x="6904383" y="3284010"/>
                </a:cubicBezTo>
                <a:cubicBezTo>
                  <a:pt x="6938742" y="3300266"/>
                  <a:pt x="6916024" y="3284717"/>
                  <a:pt x="6958630" y="3310750"/>
                </a:cubicBezTo>
                <a:cubicBezTo>
                  <a:pt x="6951435" y="3334898"/>
                  <a:pt x="6940360" y="3357279"/>
                  <a:pt x="6929041" y="3378717"/>
                </a:cubicBezTo>
                <a:cubicBezTo>
                  <a:pt x="6903291" y="3424363"/>
                  <a:pt x="6873864" y="3465944"/>
                  <a:pt x="6842183" y="3504197"/>
                </a:cubicBezTo>
                <a:lnTo>
                  <a:pt x="6793322" y="3555557"/>
                </a:lnTo>
                <a:lnTo>
                  <a:pt x="6601492" y="3718004"/>
                </a:lnTo>
                <a:lnTo>
                  <a:pt x="6534262" y="3758927"/>
                </a:lnTo>
                <a:cubicBezTo>
                  <a:pt x="6461450" y="3795767"/>
                  <a:pt x="6386122" y="3819325"/>
                  <a:pt x="6311623" y="3828455"/>
                </a:cubicBezTo>
                <a:cubicBezTo>
                  <a:pt x="6276293" y="3828455"/>
                  <a:pt x="6240237" y="3833285"/>
                  <a:pt x="6205393" y="3828809"/>
                </a:cubicBezTo>
                <a:cubicBezTo>
                  <a:pt x="6173378" y="3824333"/>
                  <a:pt x="6144192" y="3808312"/>
                  <a:pt x="6113794" y="3797240"/>
                </a:cubicBezTo>
                <a:cubicBezTo>
                  <a:pt x="6049199" y="3774269"/>
                  <a:pt x="6001500" y="3714077"/>
                  <a:pt x="5957763" y="3652471"/>
                </a:cubicBezTo>
                <a:cubicBezTo>
                  <a:pt x="5909660" y="3591336"/>
                  <a:pt x="5886294" y="3502990"/>
                  <a:pt x="5871500" y="3414408"/>
                </a:cubicBezTo>
                <a:cubicBezTo>
                  <a:pt x="5863092" y="3355511"/>
                  <a:pt x="5850885" y="3297792"/>
                  <a:pt x="5850157" y="3236186"/>
                </a:cubicBezTo>
                <a:cubicBezTo>
                  <a:pt x="5850400" y="3061026"/>
                  <a:pt x="5852987" y="2885394"/>
                  <a:pt x="5855735" y="2709763"/>
                </a:cubicBezTo>
                <a:cubicBezTo>
                  <a:pt x="5857594" y="2613761"/>
                  <a:pt x="5854684" y="2518584"/>
                  <a:pt x="5851694" y="2423524"/>
                </a:cubicBezTo>
                <a:cubicBezTo>
                  <a:pt x="5851046" y="2397963"/>
                  <a:pt x="5850480" y="2372284"/>
                  <a:pt x="5849753" y="2346604"/>
                </a:cubicBezTo>
                <a:cubicBezTo>
                  <a:pt x="5734872" y="2591499"/>
                  <a:pt x="5634056" y="2847583"/>
                  <a:pt x="5526775" y="3097071"/>
                </a:cubicBezTo>
                <a:cubicBezTo>
                  <a:pt x="5457490" y="3256446"/>
                  <a:pt x="5393056" y="3419474"/>
                  <a:pt x="5318032" y="3574844"/>
                </a:cubicBezTo>
                <a:cubicBezTo>
                  <a:pt x="5246403" y="3710896"/>
                  <a:pt x="5166607" y="3842120"/>
                  <a:pt x="5075333" y="3956380"/>
                </a:cubicBezTo>
                <a:cubicBezTo>
                  <a:pt x="5025128" y="4015748"/>
                  <a:pt x="4978641" y="4081831"/>
                  <a:pt x="4924556" y="4134603"/>
                </a:cubicBezTo>
                <a:cubicBezTo>
                  <a:pt x="4833929" y="4229308"/>
                  <a:pt x="4736267" y="4308114"/>
                  <a:pt x="4635048" y="4375727"/>
                </a:cubicBezTo>
                <a:cubicBezTo>
                  <a:pt x="4545875" y="4429088"/>
                  <a:pt x="4453550" y="4473143"/>
                  <a:pt x="4359931" y="4489634"/>
                </a:cubicBezTo>
                <a:cubicBezTo>
                  <a:pt x="4327754" y="4490459"/>
                  <a:pt x="4295577" y="4491401"/>
                  <a:pt x="4263401" y="4492344"/>
                </a:cubicBezTo>
                <a:cubicBezTo>
                  <a:pt x="4105994" y="4496819"/>
                  <a:pt x="4027817" y="4311764"/>
                  <a:pt x="3999117" y="4115284"/>
                </a:cubicBezTo>
                <a:cubicBezTo>
                  <a:pt x="3982786" y="4003734"/>
                  <a:pt x="3980765" y="3887470"/>
                  <a:pt x="3984242" y="3770618"/>
                </a:cubicBezTo>
                <a:cubicBezTo>
                  <a:pt x="3985940" y="3631857"/>
                  <a:pt x="3992407" y="3492388"/>
                  <a:pt x="4001623" y="3352685"/>
                </a:cubicBezTo>
                <a:cubicBezTo>
                  <a:pt x="4006959" y="3284364"/>
                  <a:pt x="4012699" y="3215926"/>
                  <a:pt x="4018520" y="3147604"/>
                </a:cubicBezTo>
                <a:cubicBezTo>
                  <a:pt x="3985453" y="3248554"/>
                  <a:pt x="3952307" y="3349504"/>
                  <a:pt x="3918918" y="3450336"/>
                </a:cubicBezTo>
                <a:cubicBezTo>
                  <a:pt x="3863701" y="3618781"/>
                  <a:pt x="3803389" y="3784753"/>
                  <a:pt x="3739925" y="3949076"/>
                </a:cubicBezTo>
                <a:cubicBezTo>
                  <a:pt x="3602570" y="4304932"/>
                  <a:pt x="3480251" y="4636405"/>
                  <a:pt x="3266332" y="4912986"/>
                </a:cubicBezTo>
                <a:cubicBezTo>
                  <a:pt x="3060904" y="5178613"/>
                  <a:pt x="2795488" y="5385106"/>
                  <a:pt x="2513418" y="5356836"/>
                </a:cubicBezTo>
                <a:cubicBezTo>
                  <a:pt x="2339681" y="5339519"/>
                  <a:pt x="2280583" y="5083199"/>
                  <a:pt x="2277187" y="4864456"/>
                </a:cubicBezTo>
                <a:cubicBezTo>
                  <a:pt x="2271851" y="4517434"/>
                  <a:pt x="2288263" y="4169823"/>
                  <a:pt x="2326260" y="3827159"/>
                </a:cubicBezTo>
                <a:cubicBezTo>
                  <a:pt x="2310617" y="3874203"/>
                  <a:pt x="2212992" y="4278650"/>
                  <a:pt x="2048658" y="4767608"/>
                </a:cubicBezTo>
                <a:close/>
              </a:path>
            </a:pathLst>
          </a:custGeom>
          <a:gradFill>
            <a:gsLst>
              <a:gs pos="0">
                <a:srgbClr val="00316C"/>
              </a:gs>
              <a:gs pos="23000">
                <a:srgbClr val="01326E"/>
              </a:gs>
              <a:gs pos="39000">
                <a:srgbClr val="063878"/>
              </a:gs>
              <a:gs pos="53000">
                <a:srgbClr val="0F4287"/>
              </a:gs>
              <a:gs pos="67000">
                <a:srgbClr val="1C519E"/>
              </a:gs>
              <a:gs pos="79000">
                <a:srgbClr val="2C63BA"/>
              </a:gs>
              <a:gs pos="91000">
                <a:srgbClr val="4079DD"/>
              </a:gs>
              <a:gs pos="100000">
                <a:srgbClr val="538FFF"/>
              </a:gs>
            </a:gsLst>
            <a:lin ang="13500000" scaled="1"/>
          </a:gradFill>
          <a:ln w="6729" cap="flat">
            <a:noFill/>
            <a:prstDash val="solid"/>
            <a:miter/>
          </a:ln>
        </p:spPr>
        <p:txBody>
          <a:bodyPr rtlCol="0" anchor="ctr"/>
          <a:lstStyle/>
          <a:p>
            <a:endParaRPr lang="en-US"/>
          </a:p>
        </p:txBody>
      </p:sp>
      <p:sp>
        <p:nvSpPr>
          <p:cNvPr id="10" name="Content">
            <a:extLst>
              <a:ext uri="{FF2B5EF4-FFF2-40B4-BE49-F238E27FC236}">
                <a16:creationId xmlns:a16="http://schemas.microsoft.com/office/drawing/2014/main" id="{8EF30D9B-1CE5-162E-5F5B-B41EF6386733}"/>
              </a:ext>
            </a:extLst>
          </p:cNvPr>
          <p:cNvSpPr>
            <a:spLocks noGrp="1"/>
          </p:cNvSpPr>
          <p:nvPr>
            <p:ph sz="quarter" idx="13" hasCustomPrompt="1"/>
          </p:nvPr>
        </p:nvSpPr>
        <p:spPr>
          <a:xfrm>
            <a:off x="552000" y="1700808"/>
            <a:ext cx="11088001" cy="4320000"/>
          </a:xfrm>
          <a:prstGeom prst="rect">
            <a:avLst/>
          </a:prstGeom>
        </p:spPr>
        <p:txBody>
          <a:bodyPr anchor="t">
            <a:normAutofit/>
          </a:bodyPr>
          <a:lstStyle>
            <a:lvl1pPr>
              <a:defRPr sz="1800" baseline="0">
                <a:solidFill>
                  <a:schemeClr val="tx1"/>
                </a:solidFill>
              </a:defRPr>
            </a:lvl1pPr>
            <a:lvl2pPr>
              <a:buClr>
                <a:schemeClr val="tx1"/>
              </a:buClr>
              <a:defRPr sz="1800" baseline="0">
                <a:solidFill>
                  <a:schemeClr val="tx1"/>
                </a:solidFill>
              </a:defRPr>
            </a:lvl2pPr>
            <a:lvl3pPr>
              <a:defRPr sz="1800" baseline="0">
                <a:solidFill>
                  <a:schemeClr val="tx1"/>
                </a:solidFill>
              </a:defRPr>
            </a:lvl3pPr>
            <a:lvl4pPr>
              <a:defRPr sz="1600" baseline="0">
                <a:solidFill>
                  <a:schemeClr val="tx1"/>
                </a:solidFill>
              </a:defRPr>
            </a:lvl4pPr>
            <a:lvl5pPr>
              <a:defRPr sz="1800" baseline="0">
                <a:solidFill>
                  <a:schemeClr val="tx1"/>
                </a:solidFill>
              </a:defRPr>
            </a:lvl5pPr>
            <a:lvl6pPr>
              <a:defRPr sz="1800"/>
            </a:lvl6pPr>
            <a:lvl7pPr>
              <a:defRPr>
                <a:solidFill>
                  <a:schemeClr val="tx1"/>
                </a:solidFill>
                <a:latin typeface="+mn-lt"/>
              </a:defRPr>
            </a:lvl7pPr>
            <a:lvl8pPr>
              <a:buAutoNum type="alphaLcParenR"/>
              <a:defRPr/>
            </a:lvl8pPr>
          </a:lstStyle>
          <a:p>
            <a:pPr lvl="0"/>
            <a:r>
              <a:rPr lang="de-DE"/>
              <a:t>Mastertextformat bearbeiten</a:t>
            </a:r>
          </a:p>
          <a:p>
            <a:pPr lvl="1"/>
            <a:r>
              <a:rPr lang="de-DE"/>
              <a:t>Zweite Ebene</a:t>
            </a:r>
          </a:p>
          <a:p>
            <a:pPr lvl="2"/>
            <a:r>
              <a:rPr lang="de-DE"/>
              <a:t>Dritte Ebene</a:t>
            </a:r>
          </a:p>
          <a:p>
            <a:pPr lvl="3"/>
            <a:r>
              <a:rPr lang="de-DE"/>
              <a:t>Vierte Ebene</a:t>
            </a:r>
          </a:p>
          <a:p>
            <a:pPr lvl="4"/>
            <a:endParaRPr lang="en-US"/>
          </a:p>
        </p:txBody>
      </p:sp>
      <p:sp>
        <p:nvSpPr>
          <p:cNvPr id="2" name="Title 1">
            <a:extLst>
              <a:ext uri="{FF2B5EF4-FFF2-40B4-BE49-F238E27FC236}">
                <a16:creationId xmlns:a16="http://schemas.microsoft.com/office/drawing/2014/main" id="{C3A111F7-7820-764F-3959-6534A1CD7D09}"/>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143757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sp>
        <p:nvSpPr>
          <p:cNvPr id="8" name="Gradient Box">
            <a:extLst>
              <a:ext uri="{FF2B5EF4-FFF2-40B4-BE49-F238E27FC236}">
                <a16:creationId xmlns:a16="http://schemas.microsoft.com/office/drawing/2014/main" id="{5FA2F412-DAB1-79A8-EE6D-856B95DA3CE8}"/>
              </a:ext>
            </a:extLst>
          </p:cNvPr>
          <p:cNvSpPr/>
          <p:nvPr>
            <p:custDataLst>
              <p:tags r:id="rId1"/>
            </p:custDataLst>
          </p:nvPr>
        </p:nvSpPr>
        <p:spPr>
          <a:xfrm>
            <a:off x="0" y="2087821"/>
            <a:ext cx="6096000" cy="4770179"/>
          </a:xfrm>
          <a:prstGeom prst="rect">
            <a:avLst/>
          </a:prstGeom>
          <a:gradFill flip="none" rotWithShape="1">
            <a:gsLst>
              <a:gs pos="0">
                <a:schemeClr val="bg1"/>
              </a:gs>
              <a:gs pos="100000">
                <a:schemeClr val="bg2"/>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Squiggle">
            <a:extLst>
              <a:ext uri="{FF2B5EF4-FFF2-40B4-BE49-F238E27FC236}">
                <a16:creationId xmlns:a16="http://schemas.microsoft.com/office/drawing/2014/main" id="{47F53373-D50B-883E-FDDA-7108820460DB}"/>
              </a:ext>
            </a:extLst>
          </p:cNvPr>
          <p:cNvPicPr>
            <a:picLocks noChangeAspect="1"/>
          </p:cNvPicPr>
          <p:nvPr/>
        </p:nvPicPr>
        <p:blipFill>
          <a:blip r:embed="rId3">
            <a:extLst>
              <a:ext uri="{28A0092B-C50C-407E-A947-70E740481C1C}">
                <a14:useLocalDpi xmlns:a14="http://schemas.microsoft.com/office/drawing/2010/main"/>
              </a:ext>
            </a:extLst>
          </a:blip>
          <a:srcRect l="26089" t="12023" r="24259" b="38040"/>
          <a:stretch>
            <a:fillRect/>
          </a:stretch>
        </p:blipFill>
        <p:spPr>
          <a:xfrm>
            <a:off x="0" y="2053095"/>
            <a:ext cx="6096000" cy="4770179"/>
          </a:xfrm>
          <a:prstGeom prst="rect">
            <a:avLst/>
          </a:prstGeom>
        </p:spPr>
      </p:pic>
      <p:sp>
        <p:nvSpPr>
          <p:cNvPr id="13" name="Content">
            <a:extLst>
              <a:ext uri="{FF2B5EF4-FFF2-40B4-BE49-F238E27FC236}">
                <a16:creationId xmlns:a16="http://schemas.microsoft.com/office/drawing/2014/main" id="{29AFB3F8-FA85-8CE0-015D-62EB0BF10F33}"/>
              </a:ext>
            </a:extLst>
          </p:cNvPr>
          <p:cNvSpPr>
            <a:spLocks noGrp="1"/>
          </p:cNvSpPr>
          <p:nvPr>
            <p:ph sz="quarter" idx="15"/>
          </p:nvPr>
        </p:nvSpPr>
        <p:spPr>
          <a:xfrm>
            <a:off x="6588000" y="2053095"/>
            <a:ext cx="5040000" cy="3960000"/>
          </a:xfrm>
          <a:prstGeom prst="rect">
            <a:avLst/>
          </a:prstGeom>
        </p:spPr>
        <p:txBody>
          <a:bodyPr>
            <a:noAutofit/>
          </a:bodyPr>
          <a:lstStyle>
            <a:lvl1pPr>
              <a:spcBef>
                <a:spcPts val="2400"/>
              </a:spcBef>
              <a:spcAft>
                <a:spcPct val="0"/>
              </a:spcAft>
              <a:defRPr b="1">
                <a:solidFill>
                  <a:schemeClr val="tx2"/>
                </a:solidFill>
                <a:latin typeface="+mj-lt"/>
              </a:defRPr>
            </a:lvl1pPr>
            <a:lvl2pPr marL="0" indent="0">
              <a:spcBef>
                <a:spcPts val="300"/>
              </a:spcBef>
              <a:spcAft>
                <a:spcPts val="600"/>
              </a:spcAft>
              <a:buFontTx/>
              <a:buNone/>
              <a:defRPr sz="1200"/>
            </a:lvl2pPr>
            <a:lvl3pPr marL="180000" indent="-180000">
              <a:spcBef>
                <a:spcPct val="0"/>
              </a:spcBef>
              <a:spcAft>
                <a:spcPts val="300"/>
              </a:spcAft>
              <a:buFont typeface="Wingdings" pitchFamily="2" charset="2"/>
              <a:buChar char="§"/>
              <a:defRPr sz="1200"/>
            </a:lvl3pPr>
            <a:lvl4pPr marL="360000" indent="-180000">
              <a:spcBef>
                <a:spcPct val="0"/>
              </a:spcBef>
              <a:spcAft>
                <a:spcPts val="300"/>
              </a:spcAft>
              <a:defRPr sz="1200"/>
            </a:lvl4pPr>
            <a:lvl5pPr>
              <a:spcAft>
                <a:spcPts val="300"/>
              </a:spcAft>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CDF4F03E-3E76-8B40-7DFE-45514CEB5E6F}"/>
              </a:ext>
            </a:extLst>
          </p:cNvPr>
          <p:cNvSpPr>
            <a:spLocks noGrp="1"/>
          </p:cNvSpPr>
          <p:nvPr>
            <p:ph type="title"/>
          </p:nvPr>
        </p:nvSpPr>
        <p:spPr>
          <a:xfrm>
            <a:off x="552000" y="700811"/>
            <a:ext cx="8640000" cy="974626"/>
          </a:xfrm>
        </p:spPr>
        <p:txBody>
          <a:bodyPr/>
          <a:lstStyle>
            <a:lvl1pPr>
              <a:defRPr sz="3200">
                <a:solidFill>
                  <a:schemeClr val="tx2"/>
                </a:solidFill>
              </a:defRPr>
            </a:lvl1pPr>
          </a:lstStyle>
          <a:p>
            <a:r>
              <a:rPr lang="en-US"/>
              <a:t>Click to edit Master title style</a:t>
            </a:r>
          </a:p>
        </p:txBody>
      </p:sp>
    </p:spTree>
    <p:extLst>
      <p:ext uri="{BB962C8B-B14F-4D97-AF65-F5344CB8AC3E}">
        <p14:creationId xmlns:p14="http://schemas.microsoft.com/office/powerpoint/2010/main" val="860779189"/>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15:guide id="1" pos="3840" userDrawn="1">
          <p15:clr>
            <a:srgbClr val="FBAE40"/>
          </p15:clr>
        </p15:guide>
        <p15:guide id="2" pos="4158"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ase Study Blue">
    <p:bg>
      <p:bgRef idx="1001">
        <a:schemeClr val="bg2"/>
      </p:bgRef>
    </p:bg>
    <p:spTree>
      <p:nvGrpSpPr>
        <p:cNvPr id="1" name=""/>
        <p:cNvGrpSpPr/>
        <p:nvPr/>
      </p:nvGrpSpPr>
      <p:grpSpPr>
        <a:xfrm>
          <a:off x="0" y="0"/>
          <a:ext cx="0" cy="0"/>
          <a:chOff x="0" y="0"/>
          <a:chExt cx="0" cy="0"/>
        </a:xfrm>
      </p:grpSpPr>
      <p:sp>
        <p:nvSpPr>
          <p:cNvPr id="13" name="Content">
            <a:extLst>
              <a:ext uri="{FF2B5EF4-FFF2-40B4-BE49-F238E27FC236}">
                <a16:creationId xmlns:a16="http://schemas.microsoft.com/office/drawing/2014/main" id="{29AFB3F8-FA85-8CE0-015D-62EB0BF10F33}"/>
              </a:ext>
            </a:extLst>
          </p:cNvPr>
          <p:cNvSpPr>
            <a:spLocks noGrp="1"/>
          </p:cNvSpPr>
          <p:nvPr>
            <p:ph sz="quarter" idx="15"/>
          </p:nvPr>
        </p:nvSpPr>
        <p:spPr>
          <a:xfrm>
            <a:off x="6588000" y="2053095"/>
            <a:ext cx="5040000" cy="3960000"/>
          </a:xfrm>
          <a:prstGeom prst="rect">
            <a:avLst/>
          </a:prstGeom>
        </p:spPr>
        <p:txBody>
          <a:bodyPr>
            <a:noAutofit/>
          </a:bodyPr>
          <a:lstStyle>
            <a:lvl1pPr>
              <a:spcBef>
                <a:spcPts val="2400"/>
              </a:spcBef>
              <a:spcAft>
                <a:spcPct val="0"/>
              </a:spcAft>
              <a:defRPr b="1">
                <a:solidFill>
                  <a:schemeClr val="tx1"/>
                </a:solidFill>
                <a:latin typeface="+mj-lt"/>
              </a:defRPr>
            </a:lvl1pPr>
            <a:lvl2pPr marL="0" indent="0">
              <a:spcBef>
                <a:spcPts val="300"/>
              </a:spcBef>
              <a:spcAft>
                <a:spcPts val="600"/>
              </a:spcAft>
              <a:buFontTx/>
              <a:buNone/>
              <a:defRPr sz="1200">
                <a:solidFill>
                  <a:schemeClr val="tx1"/>
                </a:solidFill>
              </a:defRPr>
            </a:lvl2pPr>
            <a:lvl3pPr marL="180000" indent="-180000">
              <a:spcBef>
                <a:spcPct val="0"/>
              </a:spcBef>
              <a:spcAft>
                <a:spcPts val="300"/>
              </a:spcAft>
              <a:buFont typeface="Wingdings" pitchFamily="2" charset="2"/>
              <a:buChar char="§"/>
              <a:defRPr sz="1200">
                <a:solidFill>
                  <a:schemeClr val="tx1"/>
                </a:solidFill>
              </a:defRPr>
            </a:lvl3pPr>
            <a:lvl4pPr marL="360000" indent="-180000">
              <a:spcBef>
                <a:spcPct val="0"/>
              </a:spcBef>
              <a:spcAft>
                <a:spcPts val="300"/>
              </a:spcAft>
              <a:defRPr sz="1200">
                <a:solidFill>
                  <a:schemeClr val="tx1"/>
                </a:solidFill>
              </a:defRPr>
            </a:lvl4pPr>
            <a:lvl5pPr>
              <a:spcAft>
                <a:spcPts val="300"/>
              </a:spcAft>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CDF4F03E-3E76-8B40-7DFE-45514CEB5E6F}"/>
              </a:ext>
            </a:extLst>
          </p:cNvPr>
          <p:cNvSpPr>
            <a:spLocks noGrp="1"/>
          </p:cNvSpPr>
          <p:nvPr>
            <p:ph type="title"/>
          </p:nvPr>
        </p:nvSpPr>
        <p:spPr>
          <a:xfrm>
            <a:off x="552000" y="700811"/>
            <a:ext cx="8639999" cy="974626"/>
          </a:xfrm>
        </p:spPr>
        <p:txBody>
          <a:bodyPr/>
          <a:lstStyle>
            <a:lvl1pPr>
              <a:defRPr sz="3200">
                <a:solidFill>
                  <a:schemeClr val="tx1"/>
                </a:solidFill>
              </a:defRPr>
            </a:lvl1pPr>
          </a:lstStyle>
          <a:p>
            <a:r>
              <a:rPr lang="en-US"/>
              <a:t>Click to edit Master title style</a:t>
            </a:r>
          </a:p>
        </p:txBody>
      </p:sp>
      <p:sp>
        <p:nvSpPr>
          <p:cNvPr id="2" name="Squiggle">
            <a:extLst>
              <a:ext uri="{FF2B5EF4-FFF2-40B4-BE49-F238E27FC236}">
                <a16:creationId xmlns:a16="http://schemas.microsoft.com/office/drawing/2014/main" id="{7ADB17EC-3535-10B4-EA22-3FF7B2394167}"/>
              </a:ext>
            </a:extLst>
          </p:cNvPr>
          <p:cNvSpPr/>
          <p:nvPr userDrawn="1"/>
        </p:nvSpPr>
        <p:spPr bwMode="invGray">
          <a:xfrm rot="7860000">
            <a:off x="-623711" y="1951769"/>
            <a:ext cx="6944766" cy="5297390"/>
          </a:xfrm>
          <a:custGeom>
            <a:avLst/>
            <a:gdLst>
              <a:gd name="connsiteX0" fmla="*/ 1075189 w 6958630"/>
              <a:gd name="connsiteY0" fmla="*/ 3827046 h 5359428"/>
              <a:gd name="connsiteX1" fmla="*/ 0 w 6958630"/>
              <a:gd name="connsiteY1" fmla="*/ 2557377 h 5359428"/>
              <a:gd name="connsiteX2" fmla="*/ 273834 w 6958630"/>
              <a:gd name="connsiteY2" fmla="*/ 1608741 h 5359428"/>
              <a:gd name="connsiteX3" fmla="*/ 455464 w 6958630"/>
              <a:gd name="connsiteY3" fmla="*/ 999730 h 5359428"/>
              <a:gd name="connsiteX4" fmla="*/ 485946 w 6958630"/>
              <a:gd name="connsiteY4" fmla="*/ 908688 h 5359428"/>
              <a:gd name="connsiteX5" fmla="*/ 1558997 w 6958630"/>
              <a:gd name="connsiteY5" fmla="*/ 0 h 5359428"/>
              <a:gd name="connsiteX6" fmla="*/ 1563049 w 6958630"/>
              <a:gd name="connsiteY6" fmla="*/ 27045 h 5359428"/>
              <a:gd name="connsiteX7" fmla="*/ 1535672 w 6958630"/>
              <a:gd name="connsiteY7" fmla="*/ 216059 h 5359428"/>
              <a:gd name="connsiteX8" fmla="*/ 1431946 w 6958630"/>
              <a:gd name="connsiteY8" fmla="*/ 713034 h 5359428"/>
              <a:gd name="connsiteX9" fmla="*/ 1308739 w 6958630"/>
              <a:gd name="connsiteY9" fmla="*/ 1477047 h 5359428"/>
              <a:gd name="connsiteX10" fmla="*/ 1089432 w 6958630"/>
              <a:gd name="connsiteY10" fmla="*/ 3528781 h 5359428"/>
              <a:gd name="connsiteX11" fmla="*/ 1996876 w 6958630"/>
              <a:gd name="connsiteY11" fmla="*/ 4915447 h 5359428"/>
              <a:gd name="connsiteX12" fmla="*/ 1398177 w 6958630"/>
              <a:gd name="connsiteY12" fmla="*/ 4208456 h 5359428"/>
              <a:gd name="connsiteX13" fmla="*/ 1590566 w 6958630"/>
              <a:gd name="connsiteY13" fmla="*/ 3612303 h 5359428"/>
              <a:gd name="connsiteX14" fmla="*/ 1974502 w 6958630"/>
              <a:gd name="connsiteY14" fmla="*/ 2503977 h 5359428"/>
              <a:gd name="connsiteX15" fmla="*/ 2349059 w 6958630"/>
              <a:gd name="connsiteY15" fmla="*/ 1522044 h 5359428"/>
              <a:gd name="connsiteX16" fmla="*/ 2474209 w 6958630"/>
              <a:gd name="connsiteY16" fmla="*/ 1203176 h 5359428"/>
              <a:gd name="connsiteX17" fmla="*/ 2595638 w 6958630"/>
              <a:gd name="connsiteY17" fmla="*/ 987730 h 5359428"/>
              <a:gd name="connsiteX18" fmla="*/ 3160829 w 6958630"/>
              <a:gd name="connsiteY18" fmla="*/ 519969 h 5359428"/>
              <a:gd name="connsiteX19" fmla="*/ 3435866 w 6958630"/>
              <a:gd name="connsiteY19" fmla="*/ 593002 h 5359428"/>
              <a:gd name="connsiteX20" fmla="*/ 3450660 w 6958630"/>
              <a:gd name="connsiteY20" fmla="*/ 846023 h 5359428"/>
              <a:gd name="connsiteX21" fmla="*/ 3404013 w 6958630"/>
              <a:gd name="connsiteY21" fmla="*/ 1507320 h 5359428"/>
              <a:gd name="connsiteX22" fmla="*/ 3313870 w 6958630"/>
              <a:gd name="connsiteY22" fmla="*/ 2858302 h 5359428"/>
              <a:gd name="connsiteX23" fmla="*/ 3369572 w 6958630"/>
              <a:gd name="connsiteY23" fmla="*/ 2693390 h 5359428"/>
              <a:gd name="connsiteX24" fmla="*/ 3706860 w 6958630"/>
              <a:gd name="connsiteY24" fmla="*/ 1723708 h 5359428"/>
              <a:gd name="connsiteX25" fmla="*/ 3936380 w 6958630"/>
              <a:gd name="connsiteY25" fmla="*/ 1163361 h 5359428"/>
              <a:gd name="connsiteX26" fmla="*/ 4337132 w 6958630"/>
              <a:gd name="connsiteY26" fmla="*/ 529510 h 5359428"/>
              <a:gd name="connsiteX27" fmla="*/ 4436557 w 6958630"/>
              <a:gd name="connsiteY27" fmla="*/ 432958 h 5359428"/>
              <a:gd name="connsiteX28" fmla="*/ 4508920 w 6958630"/>
              <a:gd name="connsiteY28" fmla="*/ 374766 h 5359428"/>
              <a:gd name="connsiteX29" fmla="*/ 5115640 w 6958630"/>
              <a:gd name="connsiteY29" fmla="*/ 1091229 h 5359428"/>
              <a:gd name="connsiteX30" fmla="*/ 5115018 w 6958630"/>
              <a:gd name="connsiteY30" fmla="*/ 1104037 h 5359428"/>
              <a:gd name="connsiteX31" fmla="*/ 5091987 w 6958630"/>
              <a:gd name="connsiteY31" fmla="*/ 1387995 h 5359428"/>
              <a:gd name="connsiteX32" fmla="*/ 5018983 w 6958630"/>
              <a:gd name="connsiteY32" fmla="*/ 2142938 h 5359428"/>
              <a:gd name="connsiteX33" fmla="*/ 4977834 w 6958630"/>
              <a:gd name="connsiteY33" fmla="*/ 2595032 h 5359428"/>
              <a:gd name="connsiteX34" fmla="*/ 5285289 w 6958630"/>
              <a:gd name="connsiteY34" fmla="*/ 2010773 h 5359428"/>
              <a:gd name="connsiteX35" fmla="*/ 5453822 w 6958630"/>
              <a:gd name="connsiteY35" fmla="*/ 1751596 h 5359428"/>
              <a:gd name="connsiteX36" fmla="*/ 5559908 w 6958630"/>
              <a:gd name="connsiteY36" fmla="*/ 1615856 h 5359428"/>
              <a:gd name="connsiteX37" fmla="*/ 6798419 w 6958630"/>
              <a:gd name="connsiteY37" fmla="*/ 3078389 h 5359428"/>
              <a:gd name="connsiteX38" fmla="*/ 6799849 w 6958630"/>
              <a:gd name="connsiteY38" fmla="*/ 3155851 h 5359428"/>
              <a:gd name="connsiteX39" fmla="*/ 6825478 w 6958630"/>
              <a:gd name="connsiteY39" fmla="*/ 3225821 h 5359428"/>
              <a:gd name="connsiteX40" fmla="*/ 6835906 w 6958630"/>
              <a:gd name="connsiteY40" fmla="*/ 3244195 h 5359428"/>
              <a:gd name="connsiteX41" fmla="*/ 6904383 w 6958630"/>
              <a:gd name="connsiteY41" fmla="*/ 3284010 h 5359428"/>
              <a:gd name="connsiteX42" fmla="*/ 6958630 w 6958630"/>
              <a:gd name="connsiteY42" fmla="*/ 3310750 h 5359428"/>
              <a:gd name="connsiteX43" fmla="*/ 6929041 w 6958630"/>
              <a:gd name="connsiteY43" fmla="*/ 3378717 h 5359428"/>
              <a:gd name="connsiteX44" fmla="*/ 6842183 w 6958630"/>
              <a:gd name="connsiteY44" fmla="*/ 3504197 h 5359428"/>
              <a:gd name="connsiteX45" fmla="*/ 6793322 w 6958630"/>
              <a:gd name="connsiteY45" fmla="*/ 3555557 h 5359428"/>
              <a:gd name="connsiteX46" fmla="*/ 6601492 w 6958630"/>
              <a:gd name="connsiteY46" fmla="*/ 3718004 h 5359428"/>
              <a:gd name="connsiteX47" fmla="*/ 6534262 w 6958630"/>
              <a:gd name="connsiteY47" fmla="*/ 3758927 h 5359428"/>
              <a:gd name="connsiteX48" fmla="*/ 6311623 w 6958630"/>
              <a:gd name="connsiteY48" fmla="*/ 3828455 h 5359428"/>
              <a:gd name="connsiteX49" fmla="*/ 6205393 w 6958630"/>
              <a:gd name="connsiteY49" fmla="*/ 3828809 h 5359428"/>
              <a:gd name="connsiteX50" fmla="*/ 6113794 w 6958630"/>
              <a:gd name="connsiteY50" fmla="*/ 3797240 h 5359428"/>
              <a:gd name="connsiteX51" fmla="*/ 5957763 w 6958630"/>
              <a:gd name="connsiteY51" fmla="*/ 3652471 h 5359428"/>
              <a:gd name="connsiteX52" fmla="*/ 5871500 w 6958630"/>
              <a:gd name="connsiteY52" fmla="*/ 3414408 h 5359428"/>
              <a:gd name="connsiteX53" fmla="*/ 5850157 w 6958630"/>
              <a:gd name="connsiteY53" fmla="*/ 3236186 h 5359428"/>
              <a:gd name="connsiteX54" fmla="*/ 5855735 w 6958630"/>
              <a:gd name="connsiteY54" fmla="*/ 2709763 h 5359428"/>
              <a:gd name="connsiteX55" fmla="*/ 5851694 w 6958630"/>
              <a:gd name="connsiteY55" fmla="*/ 2423524 h 5359428"/>
              <a:gd name="connsiteX56" fmla="*/ 5849753 w 6958630"/>
              <a:gd name="connsiteY56" fmla="*/ 2346604 h 5359428"/>
              <a:gd name="connsiteX57" fmla="*/ 5526775 w 6958630"/>
              <a:gd name="connsiteY57" fmla="*/ 3097071 h 5359428"/>
              <a:gd name="connsiteX58" fmla="*/ 5318032 w 6958630"/>
              <a:gd name="connsiteY58" fmla="*/ 3574844 h 5359428"/>
              <a:gd name="connsiteX59" fmla="*/ 5075333 w 6958630"/>
              <a:gd name="connsiteY59" fmla="*/ 3956380 h 5359428"/>
              <a:gd name="connsiteX60" fmla="*/ 4924556 w 6958630"/>
              <a:gd name="connsiteY60" fmla="*/ 4134603 h 5359428"/>
              <a:gd name="connsiteX61" fmla="*/ 4635048 w 6958630"/>
              <a:gd name="connsiteY61" fmla="*/ 4375727 h 5359428"/>
              <a:gd name="connsiteX62" fmla="*/ 4359931 w 6958630"/>
              <a:gd name="connsiteY62" fmla="*/ 4489634 h 5359428"/>
              <a:gd name="connsiteX63" fmla="*/ 4263401 w 6958630"/>
              <a:gd name="connsiteY63" fmla="*/ 4492344 h 5359428"/>
              <a:gd name="connsiteX64" fmla="*/ 3999117 w 6958630"/>
              <a:gd name="connsiteY64" fmla="*/ 4115284 h 5359428"/>
              <a:gd name="connsiteX65" fmla="*/ 3984242 w 6958630"/>
              <a:gd name="connsiteY65" fmla="*/ 3770618 h 5359428"/>
              <a:gd name="connsiteX66" fmla="*/ 4001623 w 6958630"/>
              <a:gd name="connsiteY66" fmla="*/ 3352685 h 5359428"/>
              <a:gd name="connsiteX67" fmla="*/ 4018520 w 6958630"/>
              <a:gd name="connsiteY67" fmla="*/ 3147604 h 5359428"/>
              <a:gd name="connsiteX68" fmla="*/ 3918918 w 6958630"/>
              <a:gd name="connsiteY68" fmla="*/ 3450336 h 5359428"/>
              <a:gd name="connsiteX69" fmla="*/ 3739925 w 6958630"/>
              <a:gd name="connsiteY69" fmla="*/ 3949076 h 5359428"/>
              <a:gd name="connsiteX70" fmla="*/ 3266332 w 6958630"/>
              <a:gd name="connsiteY70" fmla="*/ 4912986 h 5359428"/>
              <a:gd name="connsiteX71" fmla="*/ 2513418 w 6958630"/>
              <a:gd name="connsiteY71" fmla="*/ 5356836 h 5359428"/>
              <a:gd name="connsiteX72" fmla="*/ 2277187 w 6958630"/>
              <a:gd name="connsiteY72" fmla="*/ 4864456 h 5359428"/>
              <a:gd name="connsiteX73" fmla="*/ 2326260 w 6958630"/>
              <a:gd name="connsiteY73" fmla="*/ 3827159 h 5359428"/>
              <a:gd name="connsiteX74" fmla="*/ 2048658 w 6958630"/>
              <a:gd name="connsiteY74" fmla="*/ 4767608 h 535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6958630" h="5359428">
                <a:moveTo>
                  <a:pt x="1075189" y="3827046"/>
                </a:moveTo>
                <a:lnTo>
                  <a:pt x="0" y="2557377"/>
                </a:lnTo>
                <a:lnTo>
                  <a:pt x="273834" y="1608741"/>
                </a:lnTo>
                <a:cubicBezTo>
                  <a:pt x="334145" y="1408608"/>
                  <a:pt x="392071" y="1202115"/>
                  <a:pt x="455464" y="999730"/>
                </a:cubicBezTo>
                <a:lnTo>
                  <a:pt x="485946" y="908688"/>
                </a:lnTo>
                <a:lnTo>
                  <a:pt x="1558997" y="0"/>
                </a:lnTo>
                <a:lnTo>
                  <a:pt x="1563049" y="27045"/>
                </a:lnTo>
                <a:cubicBezTo>
                  <a:pt x="1562735" y="86987"/>
                  <a:pt x="1547759" y="152392"/>
                  <a:pt x="1535672" y="216059"/>
                </a:cubicBezTo>
                <a:cubicBezTo>
                  <a:pt x="1503981" y="382974"/>
                  <a:pt x="1464447" y="546473"/>
                  <a:pt x="1431946" y="713034"/>
                </a:cubicBezTo>
                <a:cubicBezTo>
                  <a:pt x="1382793" y="964760"/>
                  <a:pt x="1338086" y="1218724"/>
                  <a:pt x="1308739" y="1477047"/>
                </a:cubicBezTo>
                <a:cubicBezTo>
                  <a:pt x="1231248" y="2159782"/>
                  <a:pt x="1132111" y="2846427"/>
                  <a:pt x="1089432" y="3528781"/>
                </a:cubicBezTo>
                <a:close/>
                <a:moveTo>
                  <a:pt x="1996876" y="4915447"/>
                </a:moveTo>
                <a:lnTo>
                  <a:pt x="1398177" y="4208456"/>
                </a:lnTo>
                <a:lnTo>
                  <a:pt x="1590566" y="3612303"/>
                </a:lnTo>
                <a:cubicBezTo>
                  <a:pt x="1715230" y="3241369"/>
                  <a:pt x="1843451" y="2871731"/>
                  <a:pt x="1974502" y="2503977"/>
                </a:cubicBezTo>
                <a:cubicBezTo>
                  <a:pt x="2096579" y="2175213"/>
                  <a:pt x="2219221" y="1846685"/>
                  <a:pt x="2349059" y="1522044"/>
                </a:cubicBezTo>
                <a:cubicBezTo>
                  <a:pt x="2389159" y="1414734"/>
                  <a:pt x="2429178" y="1307659"/>
                  <a:pt x="2474209" y="1203176"/>
                </a:cubicBezTo>
                <a:cubicBezTo>
                  <a:pt x="2506143" y="1124254"/>
                  <a:pt x="2552548" y="1056875"/>
                  <a:pt x="2595638" y="987730"/>
                </a:cubicBezTo>
                <a:cubicBezTo>
                  <a:pt x="2735420" y="763450"/>
                  <a:pt x="2952975" y="562376"/>
                  <a:pt x="3160829" y="519969"/>
                </a:cubicBezTo>
                <a:cubicBezTo>
                  <a:pt x="3221463" y="507600"/>
                  <a:pt x="3408378" y="455772"/>
                  <a:pt x="3435866" y="593002"/>
                </a:cubicBezTo>
                <a:cubicBezTo>
                  <a:pt x="3451954" y="673808"/>
                  <a:pt x="3452762" y="759680"/>
                  <a:pt x="3450660" y="846023"/>
                </a:cubicBezTo>
                <a:cubicBezTo>
                  <a:pt x="3439018" y="1066181"/>
                  <a:pt x="3418080" y="1287045"/>
                  <a:pt x="3404013" y="1507320"/>
                </a:cubicBezTo>
                <a:cubicBezTo>
                  <a:pt x="3374990" y="1957648"/>
                  <a:pt x="3346451" y="2407856"/>
                  <a:pt x="3313870" y="2858302"/>
                </a:cubicBezTo>
                <a:cubicBezTo>
                  <a:pt x="3332222" y="2805412"/>
                  <a:pt x="3350735" y="2749342"/>
                  <a:pt x="3369572" y="2693390"/>
                </a:cubicBezTo>
                <a:cubicBezTo>
                  <a:pt x="3474752" y="2366865"/>
                  <a:pt x="3593999" y="2046700"/>
                  <a:pt x="3706860" y="1723708"/>
                </a:cubicBezTo>
                <a:cubicBezTo>
                  <a:pt x="3783340" y="1536886"/>
                  <a:pt x="3858769" y="1349476"/>
                  <a:pt x="3936380" y="1163361"/>
                </a:cubicBezTo>
                <a:cubicBezTo>
                  <a:pt x="4039217" y="909043"/>
                  <a:pt x="4175037" y="699134"/>
                  <a:pt x="4337132" y="529510"/>
                </a:cubicBezTo>
                <a:cubicBezTo>
                  <a:pt x="4369187" y="495998"/>
                  <a:pt x="4402385" y="463487"/>
                  <a:pt x="4436557" y="432958"/>
                </a:cubicBezTo>
                <a:lnTo>
                  <a:pt x="4508920" y="374766"/>
                </a:lnTo>
                <a:lnTo>
                  <a:pt x="5115640" y="1091229"/>
                </a:lnTo>
                <a:lnTo>
                  <a:pt x="5115018" y="1104037"/>
                </a:lnTo>
                <a:cubicBezTo>
                  <a:pt x="5108399" y="1198640"/>
                  <a:pt x="5100234" y="1293347"/>
                  <a:pt x="5091987" y="1387995"/>
                </a:cubicBezTo>
                <a:cubicBezTo>
                  <a:pt x="5067734" y="1639603"/>
                  <a:pt x="5042105" y="1891330"/>
                  <a:pt x="5018983" y="2142938"/>
                </a:cubicBezTo>
                <a:cubicBezTo>
                  <a:pt x="5005644" y="2293597"/>
                  <a:pt x="4990608" y="2444372"/>
                  <a:pt x="4977834" y="2595032"/>
                </a:cubicBezTo>
                <a:cubicBezTo>
                  <a:pt x="5067734" y="2390188"/>
                  <a:pt x="5169275" y="2193354"/>
                  <a:pt x="5285289" y="2010773"/>
                </a:cubicBezTo>
                <a:cubicBezTo>
                  <a:pt x="5338404" y="1920778"/>
                  <a:pt x="5394693" y="1834376"/>
                  <a:pt x="5453822" y="1751596"/>
                </a:cubicBezTo>
                <a:lnTo>
                  <a:pt x="5559908" y="1615856"/>
                </a:lnTo>
                <a:lnTo>
                  <a:pt x="6798419" y="3078389"/>
                </a:lnTo>
                <a:lnTo>
                  <a:pt x="6799849" y="3155851"/>
                </a:lnTo>
                <a:cubicBezTo>
                  <a:pt x="6805751" y="3181058"/>
                  <a:pt x="6814160" y="3204853"/>
                  <a:pt x="6825478" y="3225821"/>
                </a:cubicBezTo>
                <a:cubicBezTo>
                  <a:pt x="6828712" y="3232181"/>
                  <a:pt x="6832269" y="3238306"/>
                  <a:pt x="6835906" y="3244195"/>
                </a:cubicBezTo>
                <a:cubicBezTo>
                  <a:pt x="6855794" y="3263514"/>
                  <a:pt x="6880938" y="3272467"/>
                  <a:pt x="6904383" y="3284010"/>
                </a:cubicBezTo>
                <a:cubicBezTo>
                  <a:pt x="6938742" y="3300266"/>
                  <a:pt x="6916024" y="3284717"/>
                  <a:pt x="6958630" y="3310750"/>
                </a:cubicBezTo>
                <a:cubicBezTo>
                  <a:pt x="6951435" y="3334898"/>
                  <a:pt x="6940360" y="3357279"/>
                  <a:pt x="6929041" y="3378717"/>
                </a:cubicBezTo>
                <a:cubicBezTo>
                  <a:pt x="6903291" y="3424363"/>
                  <a:pt x="6873864" y="3465944"/>
                  <a:pt x="6842183" y="3504197"/>
                </a:cubicBezTo>
                <a:lnTo>
                  <a:pt x="6793322" y="3555557"/>
                </a:lnTo>
                <a:lnTo>
                  <a:pt x="6601492" y="3718004"/>
                </a:lnTo>
                <a:lnTo>
                  <a:pt x="6534262" y="3758927"/>
                </a:lnTo>
                <a:cubicBezTo>
                  <a:pt x="6461450" y="3795767"/>
                  <a:pt x="6386122" y="3819325"/>
                  <a:pt x="6311623" y="3828455"/>
                </a:cubicBezTo>
                <a:cubicBezTo>
                  <a:pt x="6276293" y="3828455"/>
                  <a:pt x="6240237" y="3833285"/>
                  <a:pt x="6205393" y="3828809"/>
                </a:cubicBezTo>
                <a:cubicBezTo>
                  <a:pt x="6173378" y="3824333"/>
                  <a:pt x="6144192" y="3808312"/>
                  <a:pt x="6113794" y="3797240"/>
                </a:cubicBezTo>
                <a:cubicBezTo>
                  <a:pt x="6049199" y="3774269"/>
                  <a:pt x="6001500" y="3714077"/>
                  <a:pt x="5957763" y="3652471"/>
                </a:cubicBezTo>
                <a:cubicBezTo>
                  <a:pt x="5909660" y="3591336"/>
                  <a:pt x="5886294" y="3502990"/>
                  <a:pt x="5871500" y="3414408"/>
                </a:cubicBezTo>
                <a:cubicBezTo>
                  <a:pt x="5863092" y="3355511"/>
                  <a:pt x="5850885" y="3297792"/>
                  <a:pt x="5850157" y="3236186"/>
                </a:cubicBezTo>
                <a:cubicBezTo>
                  <a:pt x="5850400" y="3061026"/>
                  <a:pt x="5852987" y="2885394"/>
                  <a:pt x="5855735" y="2709763"/>
                </a:cubicBezTo>
                <a:cubicBezTo>
                  <a:pt x="5857594" y="2613761"/>
                  <a:pt x="5854684" y="2518584"/>
                  <a:pt x="5851694" y="2423524"/>
                </a:cubicBezTo>
                <a:cubicBezTo>
                  <a:pt x="5851046" y="2397963"/>
                  <a:pt x="5850480" y="2372284"/>
                  <a:pt x="5849753" y="2346604"/>
                </a:cubicBezTo>
                <a:cubicBezTo>
                  <a:pt x="5734872" y="2591499"/>
                  <a:pt x="5634056" y="2847583"/>
                  <a:pt x="5526775" y="3097071"/>
                </a:cubicBezTo>
                <a:cubicBezTo>
                  <a:pt x="5457490" y="3256446"/>
                  <a:pt x="5393056" y="3419474"/>
                  <a:pt x="5318032" y="3574844"/>
                </a:cubicBezTo>
                <a:cubicBezTo>
                  <a:pt x="5246403" y="3710896"/>
                  <a:pt x="5166607" y="3842120"/>
                  <a:pt x="5075333" y="3956380"/>
                </a:cubicBezTo>
                <a:cubicBezTo>
                  <a:pt x="5025128" y="4015748"/>
                  <a:pt x="4978641" y="4081831"/>
                  <a:pt x="4924556" y="4134603"/>
                </a:cubicBezTo>
                <a:cubicBezTo>
                  <a:pt x="4833929" y="4229308"/>
                  <a:pt x="4736267" y="4308114"/>
                  <a:pt x="4635048" y="4375727"/>
                </a:cubicBezTo>
                <a:cubicBezTo>
                  <a:pt x="4545875" y="4429088"/>
                  <a:pt x="4453550" y="4473143"/>
                  <a:pt x="4359931" y="4489634"/>
                </a:cubicBezTo>
                <a:cubicBezTo>
                  <a:pt x="4327754" y="4490459"/>
                  <a:pt x="4295577" y="4491401"/>
                  <a:pt x="4263401" y="4492344"/>
                </a:cubicBezTo>
                <a:cubicBezTo>
                  <a:pt x="4105994" y="4496819"/>
                  <a:pt x="4027817" y="4311764"/>
                  <a:pt x="3999117" y="4115284"/>
                </a:cubicBezTo>
                <a:cubicBezTo>
                  <a:pt x="3982786" y="4003734"/>
                  <a:pt x="3980765" y="3887470"/>
                  <a:pt x="3984242" y="3770618"/>
                </a:cubicBezTo>
                <a:cubicBezTo>
                  <a:pt x="3985940" y="3631857"/>
                  <a:pt x="3992407" y="3492388"/>
                  <a:pt x="4001623" y="3352685"/>
                </a:cubicBezTo>
                <a:cubicBezTo>
                  <a:pt x="4006959" y="3284364"/>
                  <a:pt x="4012699" y="3215926"/>
                  <a:pt x="4018520" y="3147604"/>
                </a:cubicBezTo>
                <a:cubicBezTo>
                  <a:pt x="3985453" y="3248554"/>
                  <a:pt x="3952307" y="3349504"/>
                  <a:pt x="3918918" y="3450336"/>
                </a:cubicBezTo>
                <a:cubicBezTo>
                  <a:pt x="3863701" y="3618781"/>
                  <a:pt x="3803389" y="3784753"/>
                  <a:pt x="3739925" y="3949076"/>
                </a:cubicBezTo>
                <a:cubicBezTo>
                  <a:pt x="3602570" y="4304932"/>
                  <a:pt x="3480251" y="4636405"/>
                  <a:pt x="3266332" y="4912986"/>
                </a:cubicBezTo>
                <a:cubicBezTo>
                  <a:pt x="3060904" y="5178613"/>
                  <a:pt x="2795488" y="5385106"/>
                  <a:pt x="2513418" y="5356836"/>
                </a:cubicBezTo>
                <a:cubicBezTo>
                  <a:pt x="2339681" y="5339519"/>
                  <a:pt x="2280583" y="5083199"/>
                  <a:pt x="2277187" y="4864456"/>
                </a:cubicBezTo>
                <a:cubicBezTo>
                  <a:pt x="2271851" y="4517434"/>
                  <a:pt x="2288263" y="4169823"/>
                  <a:pt x="2326260" y="3827159"/>
                </a:cubicBezTo>
                <a:cubicBezTo>
                  <a:pt x="2310617" y="3874203"/>
                  <a:pt x="2212992" y="4278650"/>
                  <a:pt x="2048658" y="4767608"/>
                </a:cubicBezTo>
                <a:close/>
              </a:path>
            </a:pathLst>
          </a:custGeom>
          <a:gradFill>
            <a:gsLst>
              <a:gs pos="0">
                <a:srgbClr val="00316C"/>
              </a:gs>
              <a:gs pos="23000">
                <a:srgbClr val="01326E"/>
              </a:gs>
              <a:gs pos="39000">
                <a:srgbClr val="063878"/>
              </a:gs>
              <a:gs pos="53000">
                <a:srgbClr val="0F4287"/>
              </a:gs>
              <a:gs pos="67000">
                <a:srgbClr val="1C519E"/>
              </a:gs>
              <a:gs pos="79000">
                <a:srgbClr val="2C63BA"/>
              </a:gs>
              <a:gs pos="91000">
                <a:srgbClr val="4079DD"/>
              </a:gs>
              <a:gs pos="100000">
                <a:srgbClr val="538FFF"/>
              </a:gs>
            </a:gsLst>
            <a:lin ang="13500000" scaled="1"/>
          </a:gradFill>
          <a:ln w="6729" cap="flat">
            <a:noFill/>
            <a:prstDash val="solid"/>
            <a:miter/>
          </a:ln>
        </p:spPr>
        <p:txBody>
          <a:bodyPr rtlCol="0" anchor="ctr"/>
          <a:lstStyle/>
          <a:p>
            <a:endParaRPr lang="en-US"/>
          </a:p>
        </p:txBody>
      </p:sp>
    </p:spTree>
    <p:extLst>
      <p:ext uri="{BB962C8B-B14F-4D97-AF65-F5344CB8AC3E}">
        <p14:creationId xmlns:p14="http://schemas.microsoft.com/office/powerpoint/2010/main" val="2748289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15:guide id="1" pos="4158"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ey message">
    <p:bg>
      <p:bgRef idx="1001">
        <a:schemeClr val="bg2"/>
      </p:bgRef>
    </p:bg>
    <p:spTree>
      <p:nvGrpSpPr>
        <p:cNvPr id="1" name=""/>
        <p:cNvGrpSpPr/>
        <p:nvPr/>
      </p:nvGrpSpPr>
      <p:grpSpPr>
        <a:xfrm>
          <a:off x="0" y="0"/>
          <a:ext cx="0" cy="0"/>
          <a:chOff x="0" y="0"/>
          <a:chExt cx="0" cy="0"/>
        </a:xfrm>
      </p:grpSpPr>
      <p:sp>
        <p:nvSpPr>
          <p:cNvPr id="9" name="Squiggle">
            <a:extLst>
              <a:ext uri="{FF2B5EF4-FFF2-40B4-BE49-F238E27FC236}">
                <a16:creationId xmlns:a16="http://schemas.microsoft.com/office/drawing/2014/main" id="{EDD39493-F2CF-026A-6F49-50AB1BFEF1DE}"/>
              </a:ext>
            </a:extLst>
          </p:cNvPr>
          <p:cNvSpPr/>
          <p:nvPr userDrawn="1"/>
        </p:nvSpPr>
        <p:spPr bwMode="invGray">
          <a:xfrm rot="7860000">
            <a:off x="-623711" y="1951769"/>
            <a:ext cx="6944766" cy="5297390"/>
          </a:xfrm>
          <a:custGeom>
            <a:avLst/>
            <a:gdLst>
              <a:gd name="connsiteX0" fmla="*/ 1075189 w 6958630"/>
              <a:gd name="connsiteY0" fmla="*/ 3827046 h 5359428"/>
              <a:gd name="connsiteX1" fmla="*/ 0 w 6958630"/>
              <a:gd name="connsiteY1" fmla="*/ 2557377 h 5359428"/>
              <a:gd name="connsiteX2" fmla="*/ 273834 w 6958630"/>
              <a:gd name="connsiteY2" fmla="*/ 1608741 h 5359428"/>
              <a:gd name="connsiteX3" fmla="*/ 455464 w 6958630"/>
              <a:gd name="connsiteY3" fmla="*/ 999730 h 5359428"/>
              <a:gd name="connsiteX4" fmla="*/ 485946 w 6958630"/>
              <a:gd name="connsiteY4" fmla="*/ 908688 h 5359428"/>
              <a:gd name="connsiteX5" fmla="*/ 1558997 w 6958630"/>
              <a:gd name="connsiteY5" fmla="*/ 0 h 5359428"/>
              <a:gd name="connsiteX6" fmla="*/ 1563049 w 6958630"/>
              <a:gd name="connsiteY6" fmla="*/ 27045 h 5359428"/>
              <a:gd name="connsiteX7" fmla="*/ 1535672 w 6958630"/>
              <a:gd name="connsiteY7" fmla="*/ 216059 h 5359428"/>
              <a:gd name="connsiteX8" fmla="*/ 1431946 w 6958630"/>
              <a:gd name="connsiteY8" fmla="*/ 713034 h 5359428"/>
              <a:gd name="connsiteX9" fmla="*/ 1308739 w 6958630"/>
              <a:gd name="connsiteY9" fmla="*/ 1477047 h 5359428"/>
              <a:gd name="connsiteX10" fmla="*/ 1089432 w 6958630"/>
              <a:gd name="connsiteY10" fmla="*/ 3528781 h 5359428"/>
              <a:gd name="connsiteX11" fmla="*/ 1996876 w 6958630"/>
              <a:gd name="connsiteY11" fmla="*/ 4915447 h 5359428"/>
              <a:gd name="connsiteX12" fmla="*/ 1398177 w 6958630"/>
              <a:gd name="connsiteY12" fmla="*/ 4208456 h 5359428"/>
              <a:gd name="connsiteX13" fmla="*/ 1590566 w 6958630"/>
              <a:gd name="connsiteY13" fmla="*/ 3612303 h 5359428"/>
              <a:gd name="connsiteX14" fmla="*/ 1974502 w 6958630"/>
              <a:gd name="connsiteY14" fmla="*/ 2503977 h 5359428"/>
              <a:gd name="connsiteX15" fmla="*/ 2349059 w 6958630"/>
              <a:gd name="connsiteY15" fmla="*/ 1522044 h 5359428"/>
              <a:gd name="connsiteX16" fmla="*/ 2474209 w 6958630"/>
              <a:gd name="connsiteY16" fmla="*/ 1203176 h 5359428"/>
              <a:gd name="connsiteX17" fmla="*/ 2595638 w 6958630"/>
              <a:gd name="connsiteY17" fmla="*/ 987730 h 5359428"/>
              <a:gd name="connsiteX18" fmla="*/ 3160829 w 6958630"/>
              <a:gd name="connsiteY18" fmla="*/ 519969 h 5359428"/>
              <a:gd name="connsiteX19" fmla="*/ 3435866 w 6958630"/>
              <a:gd name="connsiteY19" fmla="*/ 593002 h 5359428"/>
              <a:gd name="connsiteX20" fmla="*/ 3450660 w 6958630"/>
              <a:gd name="connsiteY20" fmla="*/ 846023 h 5359428"/>
              <a:gd name="connsiteX21" fmla="*/ 3404013 w 6958630"/>
              <a:gd name="connsiteY21" fmla="*/ 1507320 h 5359428"/>
              <a:gd name="connsiteX22" fmla="*/ 3313870 w 6958630"/>
              <a:gd name="connsiteY22" fmla="*/ 2858302 h 5359428"/>
              <a:gd name="connsiteX23" fmla="*/ 3369572 w 6958630"/>
              <a:gd name="connsiteY23" fmla="*/ 2693390 h 5359428"/>
              <a:gd name="connsiteX24" fmla="*/ 3706860 w 6958630"/>
              <a:gd name="connsiteY24" fmla="*/ 1723708 h 5359428"/>
              <a:gd name="connsiteX25" fmla="*/ 3936380 w 6958630"/>
              <a:gd name="connsiteY25" fmla="*/ 1163361 h 5359428"/>
              <a:gd name="connsiteX26" fmla="*/ 4337132 w 6958630"/>
              <a:gd name="connsiteY26" fmla="*/ 529510 h 5359428"/>
              <a:gd name="connsiteX27" fmla="*/ 4436557 w 6958630"/>
              <a:gd name="connsiteY27" fmla="*/ 432958 h 5359428"/>
              <a:gd name="connsiteX28" fmla="*/ 4508920 w 6958630"/>
              <a:gd name="connsiteY28" fmla="*/ 374766 h 5359428"/>
              <a:gd name="connsiteX29" fmla="*/ 5115640 w 6958630"/>
              <a:gd name="connsiteY29" fmla="*/ 1091229 h 5359428"/>
              <a:gd name="connsiteX30" fmla="*/ 5115018 w 6958630"/>
              <a:gd name="connsiteY30" fmla="*/ 1104037 h 5359428"/>
              <a:gd name="connsiteX31" fmla="*/ 5091987 w 6958630"/>
              <a:gd name="connsiteY31" fmla="*/ 1387995 h 5359428"/>
              <a:gd name="connsiteX32" fmla="*/ 5018983 w 6958630"/>
              <a:gd name="connsiteY32" fmla="*/ 2142938 h 5359428"/>
              <a:gd name="connsiteX33" fmla="*/ 4977834 w 6958630"/>
              <a:gd name="connsiteY33" fmla="*/ 2595032 h 5359428"/>
              <a:gd name="connsiteX34" fmla="*/ 5285289 w 6958630"/>
              <a:gd name="connsiteY34" fmla="*/ 2010773 h 5359428"/>
              <a:gd name="connsiteX35" fmla="*/ 5453822 w 6958630"/>
              <a:gd name="connsiteY35" fmla="*/ 1751596 h 5359428"/>
              <a:gd name="connsiteX36" fmla="*/ 5559908 w 6958630"/>
              <a:gd name="connsiteY36" fmla="*/ 1615856 h 5359428"/>
              <a:gd name="connsiteX37" fmla="*/ 6798419 w 6958630"/>
              <a:gd name="connsiteY37" fmla="*/ 3078389 h 5359428"/>
              <a:gd name="connsiteX38" fmla="*/ 6799849 w 6958630"/>
              <a:gd name="connsiteY38" fmla="*/ 3155851 h 5359428"/>
              <a:gd name="connsiteX39" fmla="*/ 6825478 w 6958630"/>
              <a:gd name="connsiteY39" fmla="*/ 3225821 h 5359428"/>
              <a:gd name="connsiteX40" fmla="*/ 6835906 w 6958630"/>
              <a:gd name="connsiteY40" fmla="*/ 3244195 h 5359428"/>
              <a:gd name="connsiteX41" fmla="*/ 6904383 w 6958630"/>
              <a:gd name="connsiteY41" fmla="*/ 3284010 h 5359428"/>
              <a:gd name="connsiteX42" fmla="*/ 6958630 w 6958630"/>
              <a:gd name="connsiteY42" fmla="*/ 3310750 h 5359428"/>
              <a:gd name="connsiteX43" fmla="*/ 6929041 w 6958630"/>
              <a:gd name="connsiteY43" fmla="*/ 3378717 h 5359428"/>
              <a:gd name="connsiteX44" fmla="*/ 6842183 w 6958630"/>
              <a:gd name="connsiteY44" fmla="*/ 3504197 h 5359428"/>
              <a:gd name="connsiteX45" fmla="*/ 6793322 w 6958630"/>
              <a:gd name="connsiteY45" fmla="*/ 3555557 h 5359428"/>
              <a:gd name="connsiteX46" fmla="*/ 6601492 w 6958630"/>
              <a:gd name="connsiteY46" fmla="*/ 3718004 h 5359428"/>
              <a:gd name="connsiteX47" fmla="*/ 6534262 w 6958630"/>
              <a:gd name="connsiteY47" fmla="*/ 3758927 h 5359428"/>
              <a:gd name="connsiteX48" fmla="*/ 6311623 w 6958630"/>
              <a:gd name="connsiteY48" fmla="*/ 3828455 h 5359428"/>
              <a:gd name="connsiteX49" fmla="*/ 6205393 w 6958630"/>
              <a:gd name="connsiteY49" fmla="*/ 3828809 h 5359428"/>
              <a:gd name="connsiteX50" fmla="*/ 6113794 w 6958630"/>
              <a:gd name="connsiteY50" fmla="*/ 3797240 h 5359428"/>
              <a:gd name="connsiteX51" fmla="*/ 5957763 w 6958630"/>
              <a:gd name="connsiteY51" fmla="*/ 3652471 h 5359428"/>
              <a:gd name="connsiteX52" fmla="*/ 5871500 w 6958630"/>
              <a:gd name="connsiteY52" fmla="*/ 3414408 h 5359428"/>
              <a:gd name="connsiteX53" fmla="*/ 5850157 w 6958630"/>
              <a:gd name="connsiteY53" fmla="*/ 3236186 h 5359428"/>
              <a:gd name="connsiteX54" fmla="*/ 5855735 w 6958630"/>
              <a:gd name="connsiteY54" fmla="*/ 2709763 h 5359428"/>
              <a:gd name="connsiteX55" fmla="*/ 5851694 w 6958630"/>
              <a:gd name="connsiteY55" fmla="*/ 2423524 h 5359428"/>
              <a:gd name="connsiteX56" fmla="*/ 5849753 w 6958630"/>
              <a:gd name="connsiteY56" fmla="*/ 2346604 h 5359428"/>
              <a:gd name="connsiteX57" fmla="*/ 5526775 w 6958630"/>
              <a:gd name="connsiteY57" fmla="*/ 3097071 h 5359428"/>
              <a:gd name="connsiteX58" fmla="*/ 5318032 w 6958630"/>
              <a:gd name="connsiteY58" fmla="*/ 3574844 h 5359428"/>
              <a:gd name="connsiteX59" fmla="*/ 5075333 w 6958630"/>
              <a:gd name="connsiteY59" fmla="*/ 3956380 h 5359428"/>
              <a:gd name="connsiteX60" fmla="*/ 4924556 w 6958630"/>
              <a:gd name="connsiteY60" fmla="*/ 4134603 h 5359428"/>
              <a:gd name="connsiteX61" fmla="*/ 4635048 w 6958630"/>
              <a:gd name="connsiteY61" fmla="*/ 4375727 h 5359428"/>
              <a:gd name="connsiteX62" fmla="*/ 4359931 w 6958630"/>
              <a:gd name="connsiteY62" fmla="*/ 4489634 h 5359428"/>
              <a:gd name="connsiteX63" fmla="*/ 4263401 w 6958630"/>
              <a:gd name="connsiteY63" fmla="*/ 4492344 h 5359428"/>
              <a:gd name="connsiteX64" fmla="*/ 3999117 w 6958630"/>
              <a:gd name="connsiteY64" fmla="*/ 4115284 h 5359428"/>
              <a:gd name="connsiteX65" fmla="*/ 3984242 w 6958630"/>
              <a:gd name="connsiteY65" fmla="*/ 3770618 h 5359428"/>
              <a:gd name="connsiteX66" fmla="*/ 4001623 w 6958630"/>
              <a:gd name="connsiteY66" fmla="*/ 3352685 h 5359428"/>
              <a:gd name="connsiteX67" fmla="*/ 4018520 w 6958630"/>
              <a:gd name="connsiteY67" fmla="*/ 3147604 h 5359428"/>
              <a:gd name="connsiteX68" fmla="*/ 3918918 w 6958630"/>
              <a:gd name="connsiteY68" fmla="*/ 3450336 h 5359428"/>
              <a:gd name="connsiteX69" fmla="*/ 3739925 w 6958630"/>
              <a:gd name="connsiteY69" fmla="*/ 3949076 h 5359428"/>
              <a:gd name="connsiteX70" fmla="*/ 3266332 w 6958630"/>
              <a:gd name="connsiteY70" fmla="*/ 4912986 h 5359428"/>
              <a:gd name="connsiteX71" fmla="*/ 2513418 w 6958630"/>
              <a:gd name="connsiteY71" fmla="*/ 5356836 h 5359428"/>
              <a:gd name="connsiteX72" fmla="*/ 2277187 w 6958630"/>
              <a:gd name="connsiteY72" fmla="*/ 4864456 h 5359428"/>
              <a:gd name="connsiteX73" fmla="*/ 2326260 w 6958630"/>
              <a:gd name="connsiteY73" fmla="*/ 3827159 h 5359428"/>
              <a:gd name="connsiteX74" fmla="*/ 2048658 w 6958630"/>
              <a:gd name="connsiteY74" fmla="*/ 4767608 h 535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6958630" h="5359428">
                <a:moveTo>
                  <a:pt x="1075189" y="3827046"/>
                </a:moveTo>
                <a:lnTo>
                  <a:pt x="0" y="2557377"/>
                </a:lnTo>
                <a:lnTo>
                  <a:pt x="273834" y="1608741"/>
                </a:lnTo>
                <a:cubicBezTo>
                  <a:pt x="334145" y="1408608"/>
                  <a:pt x="392071" y="1202115"/>
                  <a:pt x="455464" y="999730"/>
                </a:cubicBezTo>
                <a:lnTo>
                  <a:pt x="485946" y="908688"/>
                </a:lnTo>
                <a:lnTo>
                  <a:pt x="1558997" y="0"/>
                </a:lnTo>
                <a:lnTo>
                  <a:pt x="1563049" y="27045"/>
                </a:lnTo>
                <a:cubicBezTo>
                  <a:pt x="1562735" y="86987"/>
                  <a:pt x="1547759" y="152392"/>
                  <a:pt x="1535672" y="216059"/>
                </a:cubicBezTo>
                <a:cubicBezTo>
                  <a:pt x="1503981" y="382974"/>
                  <a:pt x="1464447" y="546473"/>
                  <a:pt x="1431946" y="713034"/>
                </a:cubicBezTo>
                <a:cubicBezTo>
                  <a:pt x="1382793" y="964760"/>
                  <a:pt x="1338086" y="1218724"/>
                  <a:pt x="1308739" y="1477047"/>
                </a:cubicBezTo>
                <a:cubicBezTo>
                  <a:pt x="1231248" y="2159782"/>
                  <a:pt x="1132111" y="2846427"/>
                  <a:pt x="1089432" y="3528781"/>
                </a:cubicBezTo>
                <a:close/>
                <a:moveTo>
                  <a:pt x="1996876" y="4915447"/>
                </a:moveTo>
                <a:lnTo>
                  <a:pt x="1398177" y="4208456"/>
                </a:lnTo>
                <a:lnTo>
                  <a:pt x="1590566" y="3612303"/>
                </a:lnTo>
                <a:cubicBezTo>
                  <a:pt x="1715230" y="3241369"/>
                  <a:pt x="1843451" y="2871731"/>
                  <a:pt x="1974502" y="2503977"/>
                </a:cubicBezTo>
                <a:cubicBezTo>
                  <a:pt x="2096579" y="2175213"/>
                  <a:pt x="2219221" y="1846685"/>
                  <a:pt x="2349059" y="1522044"/>
                </a:cubicBezTo>
                <a:cubicBezTo>
                  <a:pt x="2389159" y="1414734"/>
                  <a:pt x="2429178" y="1307659"/>
                  <a:pt x="2474209" y="1203176"/>
                </a:cubicBezTo>
                <a:cubicBezTo>
                  <a:pt x="2506143" y="1124254"/>
                  <a:pt x="2552548" y="1056875"/>
                  <a:pt x="2595638" y="987730"/>
                </a:cubicBezTo>
                <a:cubicBezTo>
                  <a:pt x="2735420" y="763450"/>
                  <a:pt x="2952975" y="562376"/>
                  <a:pt x="3160829" y="519969"/>
                </a:cubicBezTo>
                <a:cubicBezTo>
                  <a:pt x="3221463" y="507600"/>
                  <a:pt x="3408378" y="455772"/>
                  <a:pt x="3435866" y="593002"/>
                </a:cubicBezTo>
                <a:cubicBezTo>
                  <a:pt x="3451954" y="673808"/>
                  <a:pt x="3452762" y="759680"/>
                  <a:pt x="3450660" y="846023"/>
                </a:cubicBezTo>
                <a:cubicBezTo>
                  <a:pt x="3439018" y="1066181"/>
                  <a:pt x="3418080" y="1287045"/>
                  <a:pt x="3404013" y="1507320"/>
                </a:cubicBezTo>
                <a:cubicBezTo>
                  <a:pt x="3374990" y="1957648"/>
                  <a:pt x="3346451" y="2407856"/>
                  <a:pt x="3313870" y="2858302"/>
                </a:cubicBezTo>
                <a:cubicBezTo>
                  <a:pt x="3332222" y="2805412"/>
                  <a:pt x="3350735" y="2749342"/>
                  <a:pt x="3369572" y="2693390"/>
                </a:cubicBezTo>
                <a:cubicBezTo>
                  <a:pt x="3474752" y="2366865"/>
                  <a:pt x="3593999" y="2046700"/>
                  <a:pt x="3706860" y="1723708"/>
                </a:cubicBezTo>
                <a:cubicBezTo>
                  <a:pt x="3783340" y="1536886"/>
                  <a:pt x="3858769" y="1349476"/>
                  <a:pt x="3936380" y="1163361"/>
                </a:cubicBezTo>
                <a:cubicBezTo>
                  <a:pt x="4039217" y="909043"/>
                  <a:pt x="4175037" y="699134"/>
                  <a:pt x="4337132" y="529510"/>
                </a:cubicBezTo>
                <a:cubicBezTo>
                  <a:pt x="4369187" y="495998"/>
                  <a:pt x="4402385" y="463487"/>
                  <a:pt x="4436557" y="432958"/>
                </a:cubicBezTo>
                <a:lnTo>
                  <a:pt x="4508920" y="374766"/>
                </a:lnTo>
                <a:lnTo>
                  <a:pt x="5115640" y="1091229"/>
                </a:lnTo>
                <a:lnTo>
                  <a:pt x="5115018" y="1104037"/>
                </a:lnTo>
                <a:cubicBezTo>
                  <a:pt x="5108399" y="1198640"/>
                  <a:pt x="5100234" y="1293347"/>
                  <a:pt x="5091987" y="1387995"/>
                </a:cubicBezTo>
                <a:cubicBezTo>
                  <a:pt x="5067734" y="1639603"/>
                  <a:pt x="5042105" y="1891330"/>
                  <a:pt x="5018983" y="2142938"/>
                </a:cubicBezTo>
                <a:cubicBezTo>
                  <a:pt x="5005644" y="2293597"/>
                  <a:pt x="4990608" y="2444372"/>
                  <a:pt x="4977834" y="2595032"/>
                </a:cubicBezTo>
                <a:cubicBezTo>
                  <a:pt x="5067734" y="2390188"/>
                  <a:pt x="5169275" y="2193354"/>
                  <a:pt x="5285289" y="2010773"/>
                </a:cubicBezTo>
                <a:cubicBezTo>
                  <a:pt x="5338404" y="1920778"/>
                  <a:pt x="5394693" y="1834376"/>
                  <a:pt x="5453822" y="1751596"/>
                </a:cubicBezTo>
                <a:lnTo>
                  <a:pt x="5559908" y="1615856"/>
                </a:lnTo>
                <a:lnTo>
                  <a:pt x="6798419" y="3078389"/>
                </a:lnTo>
                <a:lnTo>
                  <a:pt x="6799849" y="3155851"/>
                </a:lnTo>
                <a:cubicBezTo>
                  <a:pt x="6805751" y="3181058"/>
                  <a:pt x="6814160" y="3204853"/>
                  <a:pt x="6825478" y="3225821"/>
                </a:cubicBezTo>
                <a:cubicBezTo>
                  <a:pt x="6828712" y="3232181"/>
                  <a:pt x="6832269" y="3238306"/>
                  <a:pt x="6835906" y="3244195"/>
                </a:cubicBezTo>
                <a:cubicBezTo>
                  <a:pt x="6855794" y="3263514"/>
                  <a:pt x="6880938" y="3272467"/>
                  <a:pt x="6904383" y="3284010"/>
                </a:cubicBezTo>
                <a:cubicBezTo>
                  <a:pt x="6938742" y="3300266"/>
                  <a:pt x="6916024" y="3284717"/>
                  <a:pt x="6958630" y="3310750"/>
                </a:cubicBezTo>
                <a:cubicBezTo>
                  <a:pt x="6951435" y="3334898"/>
                  <a:pt x="6940360" y="3357279"/>
                  <a:pt x="6929041" y="3378717"/>
                </a:cubicBezTo>
                <a:cubicBezTo>
                  <a:pt x="6903291" y="3424363"/>
                  <a:pt x="6873864" y="3465944"/>
                  <a:pt x="6842183" y="3504197"/>
                </a:cubicBezTo>
                <a:lnTo>
                  <a:pt x="6793322" y="3555557"/>
                </a:lnTo>
                <a:lnTo>
                  <a:pt x="6601492" y="3718004"/>
                </a:lnTo>
                <a:lnTo>
                  <a:pt x="6534262" y="3758927"/>
                </a:lnTo>
                <a:cubicBezTo>
                  <a:pt x="6461450" y="3795767"/>
                  <a:pt x="6386122" y="3819325"/>
                  <a:pt x="6311623" y="3828455"/>
                </a:cubicBezTo>
                <a:cubicBezTo>
                  <a:pt x="6276293" y="3828455"/>
                  <a:pt x="6240237" y="3833285"/>
                  <a:pt x="6205393" y="3828809"/>
                </a:cubicBezTo>
                <a:cubicBezTo>
                  <a:pt x="6173378" y="3824333"/>
                  <a:pt x="6144192" y="3808312"/>
                  <a:pt x="6113794" y="3797240"/>
                </a:cubicBezTo>
                <a:cubicBezTo>
                  <a:pt x="6049199" y="3774269"/>
                  <a:pt x="6001500" y="3714077"/>
                  <a:pt x="5957763" y="3652471"/>
                </a:cubicBezTo>
                <a:cubicBezTo>
                  <a:pt x="5909660" y="3591336"/>
                  <a:pt x="5886294" y="3502990"/>
                  <a:pt x="5871500" y="3414408"/>
                </a:cubicBezTo>
                <a:cubicBezTo>
                  <a:pt x="5863092" y="3355511"/>
                  <a:pt x="5850885" y="3297792"/>
                  <a:pt x="5850157" y="3236186"/>
                </a:cubicBezTo>
                <a:cubicBezTo>
                  <a:pt x="5850400" y="3061026"/>
                  <a:pt x="5852987" y="2885394"/>
                  <a:pt x="5855735" y="2709763"/>
                </a:cubicBezTo>
                <a:cubicBezTo>
                  <a:pt x="5857594" y="2613761"/>
                  <a:pt x="5854684" y="2518584"/>
                  <a:pt x="5851694" y="2423524"/>
                </a:cubicBezTo>
                <a:cubicBezTo>
                  <a:pt x="5851046" y="2397963"/>
                  <a:pt x="5850480" y="2372284"/>
                  <a:pt x="5849753" y="2346604"/>
                </a:cubicBezTo>
                <a:cubicBezTo>
                  <a:pt x="5734872" y="2591499"/>
                  <a:pt x="5634056" y="2847583"/>
                  <a:pt x="5526775" y="3097071"/>
                </a:cubicBezTo>
                <a:cubicBezTo>
                  <a:pt x="5457490" y="3256446"/>
                  <a:pt x="5393056" y="3419474"/>
                  <a:pt x="5318032" y="3574844"/>
                </a:cubicBezTo>
                <a:cubicBezTo>
                  <a:pt x="5246403" y="3710896"/>
                  <a:pt x="5166607" y="3842120"/>
                  <a:pt x="5075333" y="3956380"/>
                </a:cubicBezTo>
                <a:cubicBezTo>
                  <a:pt x="5025128" y="4015748"/>
                  <a:pt x="4978641" y="4081831"/>
                  <a:pt x="4924556" y="4134603"/>
                </a:cubicBezTo>
                <a:cubicBezTo>
                  <a:pt x="4833929" y="4229308"/>
                  <a:pt x="4736267" y="4308114"/>
                  <a:pt x="4635048" y="4375727"/>
                </a:cubicBezTo>
                <a:cubicBezTo>
                  <a:pt x="4545875" y="4429088"/>
                  <a:pt x="4453550" y="4473143"/>
                  <a:pt x="4359931" y="4489634"/>
                </a:cubicBezTo>
                <a:cubicBezTo>
                  <a:pt x="4327754" y="4490459"/>
                  <a:pt x="4295577" y="4491401"/>
                  <a:pt x="4263401" y="4492344"/>
                </a:cubicBezTo>
                <a:cubicBezTo>
                  <a:pt x="4105994" y="4496819"/>
                  <a:pt x="4027817" y="4311764"/>
                  <a:pt x="3999117" y="4115284"/>
                </a:cubicBezTo>
                <a:cubicBezTo>
                  <a:pt x="3982786" y="4003734"/>
                  <a:pt x="3980765" y="3887470"/>
                  <a:pt x="3984242" y="3770618"/>
                </a:cubicBezTo>
                <a:cubicBezTo>
                  <a:pt x="3985940" y="3631857"/>
                  <a:pt x="3992407" y="3492388"/>
                  <a:pt x="4001623" y="3352685"/>
                </a:cubicBezTo>
                <a:cubicBezTo>
                  <a:pt x="4006959" y="3284364"/>
                  <a:pt x="4012699" y="3215926"/>
                  <a:pt x="4018520" y="3147604"/>
                </a:cubicBezTo>
                <a:cubicBezTo>
                  <a:pt x="3985453" y="3248554"/>
                  <a:pt x="3952307" y="3349504"/>
                  <a:pt x="3918918" y="3450336"/>
                </a:cubicBezTo>
                <a:cubicBezTo>
                  <a:pt x="3863701" y="3618781"/>
                  <a:pt x="3803389" y="3784753"/>
                  <a:pt x="3739925" y="3949076"/>
                </a:cubicBezTo>
                <a:cubicBezTo>
                  <a:pt x="3602570" y="4304932"/>
                  <a:pt x="3480251" y="4636405"/>
                  <a:pt x="3266332" y="4912986"/>
                </a:cubicBezTo>
                <a:cubicBezTo>
                  <a:pt x="3060904" y="5178613"/>
                  <a:pt x="2795488" y="5385106"/>
                  <a:pt x="2513418" y="5356836"/>
                </a:cubicBezTo>
                <a:cubicBezTo>
                  <a:pt x="2339681" y="5339519"/>
                  <a:pt x="2280583" y="5083199"/>
                  <a:pt x="2277187" y="4864456"/>
                </a:cubicBezTo>
                <a:cubicBezTo>
                  <a:pt x="2271851" y="4517434"/>
                  <a:pt x="2288263" y="4169823"/>
                  <a:pt x="2326260" y="3827159"/>
                </a:cubicBezTo>
                <a:cubicBezTo>
                  <a:pt x="2310617" y="3874203"/>
                  <a:pt x="2212992" y="4278650"/>
                  <a:pt x="2048658" y="4767608"/>
                </a:cubicBezTo>
                <a:close/>
              </a:path>
            </a:pathLst>
          </a:custGeom>
          <a:gradFill>
            <a:gsLst>
              <a:gs pos="0">
                <a:srgbClr val="00316C"/>
              </a:gs>
              <a:gs pos="23000">
                <a:srgbClr val="01326E"/>
              </a:gs>
              <a:gs pos="39000">
                <a:srgbClr val="063878"/>
              </a:gs>
              <a:gs pos="53000">
                <a:srgbClr val="0F4287"/>
              </a:gs>
              <a:gs pos="67000">
                <a:srgbClr val="1C519E"/>
              </a:gs>
              <a:gs pos="79000">
                <a:srgbClr val="2C63BA"/>
              </a:gs>
              <a:gs pos="91000">
                <a:srgbClr val="4079DD"/>
              </a:gs>
              <a:gs pos="100000">
                <a:srgbClr val="538FFF"/>
              </a:gs>
            </a:gsLst>
            <a:lin ang="13500000" scaled="1"/>
          </a:gradFill>
          <a:ln w="6729" cap="flat">
            <a:noFill/>
            <a:prstDash val="solid"/>
            <a:miter/>
          </a:ln>
        </p:spPr>
        <p:txBody>
          <a:bodyPr rtlCol="0" anchor="ctr"/>
          <a:lstStyle/>
          <a:p>
            <a:endParaRPr lang="en-US"/>
          </a:p>
        </p:txBody>
      </p:sp>
      <p:sp>
        <p:nvSpPr>
          <p:cNvPr id="2" name="Title plus Content">
            <a:extLst>
              <a:ext uri="{FF2B5EF4-FFF2-40B4-BE49-F238E27FC236}">
                <a16:creationId xmlns:a16="http://schemas.microsoft.com/office/drawing/2014/main" id="{C2BE0690-F2BB-4B76-BB0D-557C7721AAB4}"/>
              </a:ext>
            </a:extLst>
          </p:cNvPr>
          <p:cNvSpPr>
            <a:spLocks noGrp="1"/>
          </p:cNvSpPr>
          <p:nvPr>
            <p:ph type="body" sz="quarter" idx="20"/>
          </p:nvPr>
        </p:nvSpPr>
        <p:spPr>
          <a:xfrm>
            <a:off x="550800" y="2053095"/>
            <a:ext cx="5545200" cy="3960000"/>
          </a:xfrm>
        </p:spPr>
        <p:txBody>
          <a:bodyPr wrap="square" anchor="ctr">
            <a:noAutofit/>
          </a:bodyPr>
          <a:lstStyle>
            <a:lvl1pPr>
              <a:lnSpc>
                <a:spcPct val="100000"/>
              </a:lnSpc>
              <a:spcBef>
                <a:spcPct val="0"/>
              </a:spcBef>
              <a:spcAft>
                <a:spcPts val="1200"/>
              </a:spcAft>
              <a:defRPr sz="4600">
                <a:solidFill>
                  <a:schemeClr val="tx1"/>
                </a:solidFill>
                <a:latin typeface="+mj-lt"/>
              </a:defRPr>
            </a:lvl1pPr>
            <a:lvl2pPr marL="0" indent="0">
              <a:lnSpc>
                <a:spcPct val="130000"/>
              </a:lnSpc>
              <a:buFontTx/>
              <a:buNone/>
              <a:defRPr>
                <a:solidFill>
                  <a:schemeClr val="tx1"/>
                </a:solidFill>
              </a:defRPr>
            </a:lvl2pPr>
            <a:lvl3pPr marL="0" indent="0">
              <a:spcBef>
                <a:spcPct val="0"/>
              </a:spcBef>
              <a:spcAft>
                <a:spcPts val="1200"/>
              </a:spcAft>
              <a:buFontTx/>
              <a:buNone/>
              <a:defRPr sz="4600">
                <a:solidFill>
                  <a:schemeClr val="accent2"/>
                </a:solidFill>
                <a:latin typeface="+mj-lt"/>
              </a:defRPr>
            </a:lvl3pPr>
            <a:lvl4pPr marL="0" indent="0">
              <a:spcBef>
                <a:spcPts val="1200"/>
              </a:spcBef>
              <a:buClr>
                <a:schemeClr val="tx2"/>
              </a:buClr>
              <a:buFontTx/>
              <a:buNone/>
              <a:defRPr/>
            </a:lvl4pPr>
            <a:lvl5pPr marL="252000" indent="-252000">
              <a:spcBef>
                <a:spcPts val="1200"/>
              </a:spcBef>
              <a:buClr>
                <a:schemeClr val="tx2"/>
              </a:buClr>
              <a:buFont typeface="Wingdings" pitchFamily="2" charset="2"/>
              <a:buChar char="§"/>
              <a:defRPr sz="1800" b="0">
                <a:solidFill>
                  <a:schemeClr val="tx1"/>
                </a:solidFill>
                <a:latin typeface="+mn-lt"/>
              </a:defRPr>
            </a:lvl5pPr>
            <a:lvl6pPr marL="504000" indent="-252000">
              <a:spcBef>
                <a:spcPts val="600"/>
              </a:spcBef>
              <a:buFont typeface="Symbol" panose="05050102010706020507" pitchFamily="18" charset="2"/>
              <a:buChar char="-"/>
              <a:defRPr sz="1800" b="0" baseline="0">
                <a:solidFill>
                  <a:schemeClr val="tx1"/>
                </a:solidFill>
                <a:latin typeface="+mn-lt"/>
              </a:defRPr>
            </a:lvl6pPr>
            <a:lvl7pPr marL="0" indent="0">
              <a:spcBef>
                <a:spcPts val="1200"/>
              </a:spcBef>
              <a:buFontTx/>
              <a:buNone/>
              <a:defRPr sz="1800">
                <a:solidFill>
                  <a:schemeClr val="tx1"/>
                </a:solidFill>
                <a:latin typeface="+mj-lt"/>
              </a:defRPr>
            </a:lvl7pPr>
            <a:lvl8pPr marL="0" indent="0">
              <a:spcBef>
                <a:spcPts val="1200"/>
              </a:spcBef>
              <a:buFontTx/>
              <a:buNone/>
              <a:defRPr sz="1800">
                <a:solidFill>
                  <a:schemeClr val="accent2"/>
                </a:solidFill>
                <a:latin typeface="+mj-lt"/>
              </a:defRPr>
            </a:lvl8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858D6E85-46AB-B5D0-C4C2-D522E942C7C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Tree>
    <p:extLst>
      <p:ext uri="{BB962C8B-B14F-4D97-AF65-F5344CB8AC3E}">
        <p14:creationId xmlns:p14="http://schemas.microsoft.com/office/powerpoint/2010/main" val="25159308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15:guide id="1" pos="4158"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ey message BC">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CB4BF50-2D1E-CA40-0FB2-36E1EA6BA1F0}"/>
              </a:ext>
            </a:extLst>
          </p:cNvPr>
          <p:cNvSpPr/>
          <p:nvPr userDrawn="1">
            <p:custDataLst>
              <p:tags r:id="rId1"/>
            </p:custDataLst>
          </p:nvPr>
        </p:nvSpPr>
        <p:spPr>
          <a:xfrm>
            <a:off x="0" y="3429000"/>
            <a:ext cx="7283937" cy="3429000"/>
          </a:xfrm>
          <a:prstGeom prst="rect">
            <a:avLst/>
          </a:prstGeom>
          <a:gradFill flip="none" rotWithShape="1">
            <a:gsLst>
              <a:gs pos="100000">
                <a:srgbClr val="538FFF"/>
              </a:gs>
              <a:gs pos="0">
                <a:schemeClr val="accent1"/>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575DA475-FB71-0BBA-510C-ADB2FD2DA183}"/>
              </a:ext>
            </a:extLst>
          </p:cNvPr>
          <p:cNvPicPr>
            <a:picLocks noChangeAspect="1"/>
          </p:cNvPicPr>
          <p:nvPr userDrawn="1"/>
        </p:nvPicPr>
        <p:blipFill>
          <a:blip r:embed="rId3">
            <a:extLst>
              <a:ext uri="{28A0092B-C50C-407E-A947-70E740481C1C}">
                <a14:useLocalDpi xmlns:a14="http://schemas.microsoft.com/office/drawing/2010/main"/>
              </a:ext>
            </a:extLst>
          </a:blip>
          <a:srcRect l="48069" t="47897" r="25456" b="37789"/>
          <a:stretch>
            <a:fillRect/>
          </a:stretch>
        </p:blipFill>
        <p:spPr>
          <a:xfrm>
            <a:off x="0" y="3429000"/>
            <a:ext cx="7283938" cy="3429000"/>
          </a:xfrm>
          <a:prstGeom prst="rect">
            <a:avLst/>
          </a:prstGeom>
        </p:spPr>
      </p:pic>
      <p:sp>
        <p:nvSpPr>
          <p:cNvPr id="3" name="Title 2">
            <a:extLst>
              <a:ext uri="{FF2B5EF4-FFF2-40B4-BE49-F238E27FC236}">
                <a16:creationId xmlns:a16="http://schemas.microsoft.com/office/drawing/2014/main" id="{858D6E85-46AB-B5D0-C4C2-D522E942C7C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8" name="Content Placeholder 7">
            <a:extLst>
              <a:ext uri="{FF2B5EF4-FFF2-40B4-BE49-F238E27FC236}">
                <a16:creationId xmlns:a16="http://schemas.microsoft.com/office/drawing/2014/main" id="{6E932EFA-8AA8-BF3A-8E90-B96BE7D6C80A}"/>
              </a:ext>
            </a:extLst>
          </p:cNvPr>
          <p:cNvSpPr>
            <a:spLocks noGrp="1"/>
          </p:cNvSpPr>
          <p:nvPr>
            <p:ph sz="quarter" idx="10"/>
          </p:nvPr>
        </p:nvSpPr>
        <p:spPr>
          <a:xfrm>
            <a:off x="7787939" y="1700808"/>
            <a:ext cx="3852000" cy="4320000"/>
          </a:xfrm>
        </p:spPr>
        <p:txBody>
          <a:bodyPr/>
          <a:lstStyle>
            <a:lvl4pPr>
              <a:defRPr/>
            </a:lvl4pPr>
            <a:lvl5pPr>
              <a:defRPr>
                <a:solidFill>
                  <a:schemeClr val="tx1"/>
                </a:solidFill>
              </a:defRPr>
            </a:lvl5pPr>
            <a:lvl7pPr marL="0" indent="0">
              <a:spcAft>
                <a:spcPts val="1800"/>
              </a:spcAft>
              <a:buFontTx/>
              <a:buNone/>
              <a:defRPr sz="4000">
                <a:solidFill>
                  <a:schemeClr val="tx1"/>
                </a:solidFill>
              </a:defRPr>
            </a:lvl7pPr>
            <a:lvl8pPr marL="0" indent="0">
              <a:spcBef>
                <a:spcPts val="1200"/>
              </a:spcBef>
              <a:spcAft>
                <a:spcPts val="1800"/>
              </a:spcAft>
              <a:buFontTx/>
              <a:buNone/>
              <a:defRPr sz="4000" b="0">
                <a:solidFill>
                  <a:schemeClr val="accent2"/>
                </a:solidFill>
                <a:latin typeface="+mj-lt"/>
              </a:defRPr>
            </a:lvl8pPr>
            <a:lvl9pPr>
              <a:spcBef>
                <a:spcPts val="600"/>
              </a:spcBef>
              <a:defRPr sz="12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91085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15:guide id="1" pos="4158"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ey message CC">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8D6E85-46AB-B5D0-C4C2-D522E942C7C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grpSp>
        <p:nvGrpSpPr>
          <p:cNvPr id="9" name="Group 8">
            <a:extLst>
              <a:ext uri="{FF2B5EF4-FFF2-40B4-BE49-F238E27FC236}">
                <a16:creationId xmlns:a16="http://schemas.microsoft.com/office/drawing/2014/main" id="{422BBFAD-E787-8011-D4CF-33339EB6A037}"/>
              </a:ext>
            </a:extLst>
          </p:cNvPr>
          <p:cNvGrpSpPr/>
          <p:nvPr userDrawn="1"/>
        </p:nvGrpSpPr>
        <p:grpSpPr>
          <a:xfrm>
            <a:off x="0" y="3429000"/>
            <a:ext cx="7283939" cy="3429000"/>
            <a:chOff x="0" y="3429000"/>
            <a:chExt cx="7283939" cy="3429000"/>
          </a:xfrm>
        </p:grpSpPr>
        <p:sp>
          <p:nvSpPr>
            <p:cNvPr id="10" name="Rectangle 9">
              <a:extLst>
                <a:ext uri="{FF2B5EF4-FFF2-40B4-BE49-F238E27FC236}">
                  <a16:creationId xmlns:a16="http://schemas.microsoft.com/office/drawing/2014/main" id="{7D016B5D-D24E-9CB9-D617-AD70A2A126D8}"/>
                </a:ext>
              </a:extLst>
            </p:cNvPr>
            <p:cNvSpPr/>
            <p:nvPr/>
          </p:nvSpPr>
          <p:spPr>
            <a:xfrm>
              <a:off x="0" y="3429000"/>
              <a:ext cx="7283938" cy="3429000"/>
            </a:xfrm>
            <a:prstGeom prst="rect">
              <a:avLst/>
            </a:prstGeom>
            <a:gradFill flip="none" rotWithShape="1">
              <a:gsLst>
                <a:gs pos="100000">
                  <a:schemeClr val="accent4"/>
                </a:gs>
                <a:gs pos="0">
                  <a:schemeClr val="accent3"/>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6F2AA39B-CCCF-C240-23CB-DE7BB92736FD}"/>
                </a:ext>
              </a:extLst>
            </p:cNvPr>
            <p:cNvPicPr>
              <a:picLocks noChangeAspect="1"/>
            </p:cNvPicPr>
            <p:nvPr/>
          </p:nvPicPr>
          <p:blipFill>
            <a:blip r:embed="rId2">
              <a:extLst>
                <a:ext uri="{28A0092B-C50C-407E-A947-70E740481C1C}">
                  <a14:useLocalDpi xmlns:a14="http://schemas.microsoft.com/office/drawing/2010/main"/>
                </a:ext>
              </a:extLst>
            </a:blip>
            <a:srcRect l="25890" t="31180" r="17841" b="39499"/>
            <a:stretch>
              <a:fillRect/>
            </a:stretch>
          </p:blipFill>
          <p:spPr>
            <a:xfrm>
              <a:off x="1" y="3429000"/>
              <a:ext cx="7283938" cy="3428999"/>
            </a:xfrm>
            <a:prstGeom prst="rect">
              <a:avLst/>
            </a:prstGeom>
            <a:gradFill>
              <a:gsLst>
                <a:gs pos="100000">
                  <a:schemeClr val="accent4"/>
                </a:gs>
                <a:gs pos="15000">
                  <a:schemeClr val="accent5"/>
                </a:gs>
              </a:gsLst>
              <a:lin ang="18900000" scaled="0"/>
            </a:gradFill>
          </p:spPr>
        </p:pic>
      </p:grpSp>
      <p:sp>
        <p:nvSpPr>
          <p:cNvPr id="2" name="Content Placeholder 7">
            <a:extLst>
              <a:ext uri="{FF2B5EF4-FFF2-40B4-BE49-F238E27FC236}">
                <a16:creationId xmlns:a16="http://schemas.microsoft.com/office/drawing/2014/main" id="{7998FA82-AE58-DF57-EE9E-73FF8FEAD953}"/>
              </a:ext>
            </a:extLst>
          </p:cNvPr>
          <p:cNvSpPr>
            <a:spLocks noGrp="1"/>
          </p:cNvSpPr>
          <p:nvPr>
            <p:ph sz="quarter" idx="10"/>
          </p:nvPr>
        </p:nvSpPr>
        <p:spPr>
          <a:xfrm>
            <a:off x="7787939" y="1700808"/>
            <a:ext cx="3852000" cy="4320000"/>
          </a:xfrm>
        </p:spPr>
        <p:txBody>
          <a:bodyPr/>
          <a:lstStyle>
            <a:lvl4pPr>
              <a:defRPr/>
            </a:lvl4pPr>
            <a:lvl5pPr>
              <a:defRPr>
                <a:solidFill>
                  <a:schemeClr val="tx1"/>
                </a:solidFill>
              </a:defRPr>
            </a:lvl5pPr>
            <a:lvl7pPr marL="0" indent="0">
              <a:spcAft>
                <a:spcPts val="1800"/>
              </a:spcAft>
              <a:buFontTx/>
              <a:buNone/>
              <a:defRPr sz="4000">
                <a:solidFill>
                  <a:schemeClr val="tx1"/>
                </a:solidFill>
              </a:defRPr>
            </a:lvl7pPr>
            <a:lvl8pPr marL="0" indent="0">
              <a:spcBef>
                <a:spcPts val="1200"/>
              </a:spcBef>
              <a:spcAft>
                <a:spcPts val="1800"/>
              </a:spcAft>
              <a:buFontTx/>
              <a:buNone/>
              <a:defRPr sz="4000" b="0">
                <a:solidFill>
                  <a:schemeClr val="accent2"/>
                </a:solidFill>
                <a:latin typeface="+mj-lt"/>
              </a:defRPr>
            </a:lvl8pPr>
            <a:lvl9pPr>
              <a:spcBef>
                <a:spcPts val="600"/>
              </a:spcBef>
              <a:defRPr sz="12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994109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15:guide id="1" pos="4158"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ey message CE">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8D6E85-46AB-B5D0-C4C2-D522E942C7C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grpSp>
        <p:nvGrpSpPr>
          <p:cNvPr id="2" name="Group 1">
            <a:extLst>
              <a:ext uri="{FF2B5EF4-FFF2-40B4-BE49-F238E27FC236}">
                <a16:creationId xmlns:a16="http://schemas.microsoft.com/office/drawing/2014/main" id="{FBB9FD7F-5FBF-985A-0063-937C8E3ACAB9}"/>
              </a:ext>
            </a:extLst>
          </p:cNvPr>
          <p:cNvGrpSpPr/>
          <p:nvPr userDrawn="1"/>
        </p:nvGrpSpPr>
        <p:grpSpPr>
          <a:xfrm>
            <a:off x="0" y="3429000"/>
            <a:ext cx="7288438" cy="3429000"/>
            <a:chOff x="19894" y="7414846"/>
            <a:chExt cx="7288438" cy="3429000"/>
          </a:xfrm>
        </p:grpSpPr>
        <p:sp>
          <p:nvSpPr>
            <p:cNvPr id="4" name="Rectangle 3">
              <a:extLst>
                <a:ext uri="{FF2B5EF4-FFF2-40B4-BE49-F238E27FC236}">
                  <a16:creationId xmlns:a16="http://schemas.microsoft.com/office/drawing/2014/main" id="{E01F38A6-A653-4D8B-F6B4-8CC75E37B668}"/>
                </a:ext>
              </a:extLst>
            </p:cNvPr>
            <p:cNvSpPr/>
            <p:nvPr>
              <p:custDataLst>
                <p:tags r:id="rId1"/>
              </p:custDataLst>
            </p:nvPr>
          </p:nvSpPr>
          <p:spPr>
            <a:xfrm>
              <a:off x="19894" y="7414846"/>
              <a:ext cx="7288437" cy="3429000"/>
            </a:xfrm>
            <a:prstGeom prst="rect">
              <a:avLst/>
            </a:prstGeom>
            <a:gradFill flip="none" rotWithShape="1">
              <a:gsLst>
                <a:gs pos="100000">
                  <a:schemeClr val="accent2"/>
                </a:gs>
                <a:gs pos="1000">
                  <a:schemeClr val="accent6"/>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BDF7126E-93D4-E0D7-3AC2-EACA70BF8799}"/>
                </a:ext>
              </a:extLst>
            </p:cNvPr>
            <p:cNvPicPr>
              <a:picLocks noChangeAspect="1"/>
            </p:cNvPicPr>
            <p:nvPr/>
          </p:nvPicPr>
          <p:blipFill>
            <a:blip r:embed="rId3">
              <a:extLst>
                <a:ext uri="{28A0092B-C50C-407E-A947-70E740481C1C}">
                  <a14:useLocalDpi xmlns:a14="http://schemas.microsoft.com/office/drawing/2010/main"/>
                </a:ext>
              </a:extLst>
            </a:blip>
            <a:srcRect l="22310" t="53061" r="11726" b="7052"/>
            <a:stretch>
              <a:fillRect/>
            </a:stretch>
          </p:blipFill>
          <p:spPr>
            <a:xfrm>
              <a:off x="19894" y="7414846"/>
              <a:ext cx="7288438" cy="3429000"/>
            </a:xfrm>
            <a:prstGeom prst="rect">
              <a:avLst/>
            </a:prstGeom>
          </p:spPr>
        </p:pic>
      </p:grpSp>
      <p:sp>
        <p:nvSpPr>
          <p:cNvPr id="6" name="Content Placeholder 7">
            <a:extLst>
              <a:ext uri="{FF2B5EF4-FFF2-40B4-BE49-F238E27FC236}">
                <a16:creationId xmlns:a16="http://schemas.microsoft.com/office/drawing/2014/main" id="{9D3DA5B8-F575-6DF1-AC3B-8C7584D5B6D3}"/>
              </a:ext>
            </a:extLst>
          </p:cNvPr>
          <p:cNvSpPr>
            <a:spLocks noGrp="1"/>
          </p:cNvSpPr>
          <p:nvPr>
            <p:ph sz="quarter" idx="10"/>
          </p:nvPr>
        </p:nvSpPr>
        <p:spPr>
          <a:xfrm>
            <a:off x="7787939" y="1700808"/>
            <a:ext cx="3852000" cy="4320000"/>
          </a:xfrm>
        </p:spPr>
        <p:txBody>
          <a:bodyPr/>
          <a:lstStyle>
            <a:lvl4pPr>
              <a:defRPr/>
            </a:lvl4pPr>
            <a:lvl5pPr>
              <a:defRPr>
                <a:solidFill>
                  <a:schemeClr val="tx1"/>
                </a:solidFill>
              </a:defRPr>
            </a:lvl5pPr>
            <a:lvl7pPr marL="0" indent="0">
              <a:spcAft>
                <a:spcPts val="1800"/>
              </a:spcAft>
              <a:buFontTx/>
              <a:buNone/>
              <a:defRPr sz="4000">
                <a:solidFill>
                  <a:schemeClr val="tx1"/>
                </a:solidFill>
              </a:defRPr>
            </a:lvl7pPr>
            <a:lvl8pPr marL="0" indent="0">
              <a:spcBef>
                <a:spcPts val="1200"/>
              </a:spcBef>
              <a:spcAft>
                <a:spcPts val="1800"/>
              </a:spcAft>
              <a:buFontTx/>
              <a:buNone/>
              <a:defRPr sz="4000" b="0">
                <a:solidFill>
                  <a:schemeClr val="accent2"/>
                </a:solidFill>
                <a:latin typeface="+mj-lt"/>
              </a:defRPr>
            </a:lvl8pPr>
            <a:lvl9pPr>
              <a:spcBef>
                <a:spcPts val="600"/>
              </a:spcBef>
              <a:defRPr sz="12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38816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15:guide id="1" pos="4158"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ey message DA">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8D6E85-46AB-B5D0-C4C2-D522E942C7C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grpSp>
        <p:nvGrpSpPr>
          <p:cNvPr id="6" name="Group 5">
            <a:extLst>
              <a:ext uri="{FF2B5EF4-FFF2-40B4-BE49-F238E27FC236}">
                <a16:creationId xmlns:a16="http://schemas.microsoft.com/office/drawing/2014/main" id="{4D7B03C3-5872-48EE-C266-2FF14E1A1C68}"/>
              </a:ext>
            </a:extLst>
          </p:cNvPr>
          <p:cNvGrpSpPr/>
          <p:nvPr userDrawn="1"/>
        </p:nvGrpSpPr>
        <p:grpSpPr>
          <a:xfrm>
            <a:off x="0" y="3429000"/>
            <a:ext cx="7288438" cy="3429000"/>
            <a:chOff x="0" y="3429000"/>
            <a:chExt cx="7288438" cy="3429000"/>
          </a:xfrm>
        </p:grpSpPr>
        <p:sp>
          <p:nvSpPr>
            <p:cNvPr id="7" name="Rectangle 6">
              <a:extLst>
                <a:ext uri="{FF2B5EF4-FFF2-40B4-BE49-F238E27FC236}">
                  <a16:creationId xmlns:a16="http://schemas.microsoft.com/office/drawing/2014/main" id="{85038A97-5369-6B5D-5B6A-EB11A293CCF8}"/>
                </a:ext>
              </a:extLst>
            </p:cNvPr>
            <p:cNvSpPr/>
            <p:nvPr>
              <p:custDataLst>
                <p:tags r:id="rId1"/>
              </p:custDataLst>
            </p:nvPr>
          </p:nvSpPr>
          <p:spPr>
            <a:xfrm>
              <a:off x="1" y="3429000"/>
              <a:ext cx="7288437" cy="3429000"/>
            </a:xfrm>
            <a:prstGeom prst="rect">
              <a:avLst/>
            </a:prstGeom>
            <a:gradFill flip="none" rotWithShape="1">
              <a:gsLst>
                <a:gs pos="0">
                  <a:schemeClr val="accent3"/>
                </a:gs>
                <a:gs pos="100000">
                  <a:schemeClr val="accent2"/>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a:extLst>
                <a:ext uri="{FF2B5EF4-FFF2-40B4-BE49-F238E27FC236}">
                  <a16:creationId xmlns:a16="http://schemas.microsoft.com/office/drawing/2014/main" id="{9DA01EF1-C789-CE8A-1295-17E3F748819F}"/>
                </a:ext>
              </a:extLst>
            </p:cNvPr>
            <p:cNvPicPr>
              <a:picLocks noChangeAspect="1"/>
            </p:cNvPicPr>
            <p:nvPr/>
          </p:nvPicPr>
          <p:blipFill>
            <a:blip r:embed="rId3">
              <a:extLst>
                <a:ext uri="{28A0092B-C50C-407E-A947-70E740481C1C}">
                  <a14:useLocalDpi xmlns:a14="http://schemas.microsoft.com/office/drawing/2010/main"/>
                </a:ext>
              </a:extLst>
            </a:blip>
            <a:srcRect l="19391" t="46740" r="25927" b="25063"/>
            <a:stretch>
              <a:fillRect/>
            </a:stretch>
          </p:blipFill>
          <p:spPr>
            <a:xfrm>
              <a:off x="0" y="3465513"/>
              <a:ext cx="7288438" cy="3392487"/>
            </a:xfrm>
            <a:prstGeom prst="rect">
              <a:avLst/>
            </a:prstGeom>
          </p:spPr>
        </p:pic>
      </p:grpSp>
      <p:sp>
        <p:nvSpPr>
          <p:cNvPr id="2" name="Content Placeholder 7">
            <a:extLst>
              <a:ext uri="{FF2B5EF4-FFF2-40B4-BE49-F238E27FC236}">
                <a16:creationId xmlns:a16="http://schemas.microsoft.com/office/drawing/2014/main" id="{28112D3A-C423-0B68-D701-2CC0D24291C7}"/>
              </a:ext>
            </a:extLst>
          </p:cNvPr>
          <p:cNvSpPr>
            <a:spLocks noGrp="1"/>
          </p:cNvSpPr>
          <p:nvPr>
            <p:ph sz="quarter" idx="10"/>
          </p:nvPr>
        </p:nvSpPr>
        <p:spPr>
          <a:xfrm>
            <a:off x="7787939" y="1700808"/>
            <a:ext cx="3852000" cy="4320000"/>
          </a:xfrm>
        </p:spPr>
        <p:txBody>
          <a:bodyPr/>
          <a:lstStyle>
            <a:lvl4pPr>
              <a:defRPr/>
            </a:lvl4pPr>
            <a:lvl5pPr>
              <a:defRPr>
                <a:solidFill>
                  <a:schemeClr val="tx1"/>
                </a:solidFill>
              </a:defRPr>
            </a:lvl5pPr>
            <a:lvl7pPr marL="0" indent="0">
              <a:spcAft>
                <a:spcPts val="1800"/>
              </a:spcAft>
              <a:buFontTx/>
              <a:buNone/>
              <a:defRPr sz="4000">
                <a:solidFill>
                  <a:schemeClr val="tx1"/>
                </a:solidFill>
              </a:defRPr>
            </a:lvl7pPr>
            <a:lvl8pPr marL="0" indent="0">
              <a:spcBef>
                <a:spcPts val="1200"/>
              </a:spcBef>
              <a:spcAft>
                <a:spcPts val="1800"/>
              </a:spcAft>
              <a:buFontTx/>
              <a:buNone/>
              <a:defRPr sz="4000" b="0">
                <a:solidFill>
                  <a:schemeClr val="accent2"/>
                </a:solidFill>
                <a:latin typeface="+mj-lt"/>
              </a:defRPr>
            </a:lvl8pPr>
            <a:lvl9pPr>
              <a:spcBef>
                <a:spcPts val="600"/>
              </a:spcBef>
              <a:defRPr sz="12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54041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15:guide id="1" pos="415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Left Block and Content">
    <p:spTree>
      <p:nvGrpSpPr>
        <p:cNvPr id="1" name=""/>
        <p:cNvGrpSpPr/>
        <p:nvPr/>
      </p:nvGrpSpPr>
      <p:grpSpPr>
        <a:xfrm>
          <a:off x="0" y="0"/>
          <a:ext cx="0" cy="0"/>
          <a:chOff x="0" y="0"/>
          <a:chExt cx="0" cy="0"/>
        </a:xfrm>
      </p:grpSpPr>
      <p:sp>
        <p:nvSpPr>
          <p:cNvPr id="3" name="Light Blue Background Box">
            <a:extLst>
              <a:ext uri="{FF2B5EF4-FFF2-40B4-BE49-F238E27FC236}">
                <a16:creationId xmlns:a16="http://schemas.microsoft.com/office/drawing/2014/main" id="{B7DAB3D9-5015-A550-69A8-D68640397954}"/>
              </a:ext>
            </a:extLst>
          </p:cNvPr>
          <p:cNvSpPr/>
          <p:nvPr userDrawn="1"/>
        </p:nvSpPr>
        <p:spPr bwMode="white">
          <a:xfrm>
            <a:off x="6096000" y="0"/>
            <a:ext cx="6096000" cy="6857999"/>
          </a:xfrm>
          <a:prstGeom prst="rect">
            <a:avLst/>
          </a:prstGeom>
          <a:solidFill>
            <a:srgbClr val="EDFCFF"/>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PT" sz="1600">
              <a:solidFill>
                <a:schemeClr val="tx1"/>
              </a:solidFill>
            </a:endParaRPr>
          </a:p>
        </p:txBody>
      </p:sp>
      <p:sp>
        <p:nvSpPr>
          <p:cNvPr id="10" name="Content">
            <a:extLst>
              <a:ext uri="{FF2B5EF4-FFF2-40B4-BE49-F238E27FC236}">
                <a16:creationId xmlns:a16="http://schemas.microsoft.com/office/drawing/2014/main" id="{E753F8DB-9E85-600E-CE65-6F0B5FAE55C6}"/>
              </a:ext>
            </a:extLst>
          </p:cNvPr>
          <p:cNvSpPr>
            <a:spLocks noGrp="1"/>
          </p:cNvSpPr>
          <p:nvPr>
            <p:ph sz="quarter" idx="19"/>
          </p:nvPr>
        </p:nvSpPr>
        <p:spPr>
          <a:xfrm>
            <a:off x="6588000" y="855000"/>
            <a:ext cx="5040000" cy="514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4" name="Title plus Content">
            <a:extLst>
              <a:ext uri="{FF2B5EF4-FFF2-40B4-BE49-F238E27FC236}">
                <a16:creationId xmlns:a16="http://schemas.microsoft.com/office/drawing/2014/main" id="{862DF7A4-F6DA-E5F4-FDC2-DC9F260060B3}"/>
              </a:ext>
            </a:extLst>
          </p:cNvPr>
          <p:cNvSpPr>
            <a:spLocks noGrp="1"/>
          </p:cNvSpPr>
          <p:nvPr>
            <p:ph type="body" sz="quarter" idx="20"/>
          </p:nvPr>
        </p:nvSpPr>
        <p:spPr>
          <a:xfrm>
            <a:off x="550799" y="2394274"/>
            <a:ext cx="5040000" cy="2116670"/>
          </a:xfrm>
        </p:spPr>
        <p:txBody>
          <a:bodyPr anchor="ctr">
            <a:spAutoFit/>
          </a:bodyPr>
          <a:lstStyle>
            <a:lvl1pPr>
              <a:lnSpc>
                <a:spcPct val="100000"/>
              </a:lnSpc>
              <a:spcBef>
                <a:spcPct val="0"/>
              </a:spcBef>
              <a:spcAft>
                <a:spcPts val="1200"/>
              </a:spcAft>
              <a:defRPr sz="4600">
                <a:solidFill>
                  <a:schemeClr val="tx2"/>
                </a:solidFill>
                <a:latin typeface="+mj-lt"/>
              </a:defRPr>
            </a:lvl1pPr>
            <a:lvl2pPr marL="0" indent="0">
              <a:lnSpc>
                <a:spcPct val="130000"/>
              </a:lnSpc>
              <a:buFontTx/>
              <a:buNone/>
              <a:defRPr/>
            </a:lvl2pPr>
            <a:lvl3pPr marL="0" indent="0">
              <a:spcBef>
                <a:spcPct val="0"/>
              </a:spcBef>
              <a:spcAft>
                <a:spcPts val="1200"/>
              </a:spcAft>
              <a:buFontTx/>
              <a:buNone/>
              <a:defRPr sz="4600">
                <a:solidFill>
                  <a:schemeClr val="bg1"/>
                </a:solidFill>
                <a:latin typeface="+mj-lt"/>
              </a:defRPr>
            </a:lvl3pPr>
            <a:lvl4pPr marL="0" indent="0">
              <a:spcBef>
                <a:spcPts val="1200"/>
              </a:spcBef>
              <a:buClr>
                <a:schemeClr val="tx2"/>
              </a:buClr>
              <a:buFontTx/>
              <a:buNone/>
              <a:defRPr/>
            </a:lvl4pPr>
            <a:lvl5pPr marL="252000" indent="-252000">
              <a:spcBef>
                <a:spcPts val="1200"/>
              </a:spcBef>
              <a:buClr>
                <a:schemeClr val="tx2"/>
              </a:buClr>
              <a:buFont typeface="Wingdings" pitchFamily="2" charset="2"/>
              <a:buChar char="§"/>
              <a:defRPr sz="1800" b="0">
                <a:solidFill>
                  <a:schemeClr val="tx1"/>
                </a:solidFill>
                <a:latin typeface="+mn-lt"/>
              </a:defRPr>
            </a:lvl5pPr>
            <a:lvl6pPr marL="504000" indent="-252000">
              <a:spcBef>
                <a:spcPts val="600"/>
              </a:spcBef>
              <a:buFont typeface="Symbol" panose="05050102010706020507" pitchFamily="18" charset="2"/>
              <a:buChar char="-"/>
              <a:defRPr sz="1800" b="0" baseline="0">
                <a:solidFill>
                  <a:schemeClr val="tx1"/>
                </a:solidFill>
                <a:latin typeface="+mn-lt"/>
              </a:defRPr>
            </a:lvl6pPr>
            <a:lvl7pPr marL="0" indent="0">
              <a:spcBef>
                <a:spcPts val="1200"/>
              </a:spcBef>
              <a:buFontTx/>
              <a:buNone/>
              <a:defRPr sz="1800">
                <a:solidFill>
                  <a:schemeClr val="tx2"/>
                </a:solidFill>
                <a:latin typeface="+mj-lt"/>
              </a:defRPr>
            </a:lvl7pPr>
            <a:lvl8pPr marL="0" indent="0">
              <a:spcBef>
                <a:spcPts val="1200"/>
              </a:spcBef>
              <a:buFontTx/>
              <a:buNone/>
              <a:defRPr sz="1800">
                <a:solidFill>
                  <a:schemeClr val="accent2"/>
                </a:solidFill>
                <a:latin typeface="+mj-lt"/>
              </a:defRPr>
            </a:lvl8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92343818"/>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15:guide id="5" pos="4135" userDrawn="1">
          <p15:clr>
            <a:srgbClr val="FBAE40"/>
          </p15:clr>
        </p15:guide>
        <p15:guide id="6" pos="352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Dark Blue">
    <p:spTree>
      <p:nvGrpSpPr>
        <p:cNvPr id="1" name=""/>
        <p:cNvGrpSpPr/>
        <p:nvPr/>
      </p:nvGrpSpPr>
      <p:grpSpPr>
        <a:xfrm>
          <a:off x="0" y="0"/>
          <a:ext cx="0" cy="0"/>
          <a:chOff x="0" y="0"/>
          <a:chExt cx="0" cy="0"/>
        </a:xfrm>
      </p:grpSpPr>
      <p:sp>
        <p:nvSpPr>
          <p:cNvPr id="10" name="Logo">
            <a:extLst>
              <a:ext uri="{FF2B5EF4-FFF2-40B4-BE49-F238E27FC236}">
                <a16:creationId xmlns:a16="http://schemas.microsoft.com/office/drawing/2014/main" id="{71EC193D-CC43-15CD-831C-49F8CD8C16BD}"/>
              </a:ext>
            </a:extLst>
          </p:cNvPr>
          <p:cNvSpPr/>
          <p:nvPr/>
        </p:nvSpPr>
        <p:spPr bwMode="black">
          <a:xfrm>
            <a:off x="9211095" y="767925"/>
            <a:ext cx="2442107" cy="660400"/>
          </a:xfrm>
          <a:custGeom>
            <a:avLst/>
            <a:gdLst>
              <a:gd name="connsiteX0" fmla="*/ 6897053 w 7750397"/>
              <a:gd name="connsiteY0" fmla="*/ 282131 h 2095880"/>
              <a:gd name="connsiteX1" fmla="*/ 6921151 w 7750397"/>
              <a:gd name="connsiteY1" fmla="*/ 306229 h 2095880"/>
              <a:gd name="connsiteX2" fmla="*/ 6921151 w 7750397"/>
              <a:gd name="connsiteY2" fmla="*/ 709708 h 2095880"/>
              <a:gd name="connsiteX3" fmla="*/ 6897053 w 7750397"/>
              <a:gd name="connsiteY3" fmla="*/ 733806 h 2095880"/>
              <a:gd name="connsiteX4" fmla="*/ 6493574 w 7750397"/>
              <a:gd name="connsiteY4" fmla="*/ 733806 h 2095880"/>
              <a:gd name="connsiteX5" fmla="*/ 6469475 w 7750397"/>
              <a:gd name="connsiteY5" fmla="*/ 709708 h 2095880"/>
              <a:gd name="connsiteX6" fmla="*/ 6469475 w 7750397"/>
              <a:gd name="connsiteY6" fmla="*/ 306229 h 2095880"/>
              <a:gd name="connsiteX7" fmla="*/ 6493574 w 7750397"/>
              <a:gd name="connsiteY7" fmla="*/ 282131 h 2095880"/>
              <a:gd name="connsiteX8" fmla="*/ 6897053 w 7750397"/>
              <a:gd name="connsiteY8" fmla="*/ 282131 h 2095880"/>
              <a:gd name="connsiteX9" fmla="*/ 7040594 w 7750397"/>
              <a:gd name="connsiteY9" fmla="*/ 829342 h 2095880"/>
              <a:gd name="connsiteX10" fmla="*/ 7016497 w 7750397"/>
              <a:gd name="connsiteY10" fmla="*/ 853345 h 2095880"/>
              <a:gd name="connsiteX11" fmla="*/ 7016497 w 7750397"/>
              <a:gd name="connsiteY11" fmla="*/ 1256919 h 2095880"/>
              <a:gd name="connsiteX12" fmla="*/ 7040594 w 7750397"/>
              <a:gd name="connsiteY12" fmla="*/ 1281017 h 2095880"/>
              <a:gd name="connsiteX13" fmla="*/ 7444073 w 7750397"/>
              <a:gd name="connsiteY13" fmla="*/ 1281017 h 2095880"/>
              <a:gd name="connsiteX14" fmla="*/ 7468077 w 7750397"/>
              <a:gd name="connsiteY14" fmla="*/ 1256919 h 2095880"/>
              <a:gd name="connsiteX15" fmla="*/ 7468077 w 7750397"/>
              <a:gd name="connsiteY15" fmla="*/ 853345 h 2095880"/>
              <a:gd name="connsiteX16" fmla="*/ 7444073 w 7750397"/>
              <a:gd name="connsiteY16" fmla="*/ 829342 h 2095880"/>
              <a:gd name="connsiteX17" fmla="*/ 7040594 w 7750397"/>
              <a:gd name="connsiteY17" fmla="*/ 829342 h 2095880"/>
              <a:gd name="connsiteX18" fmla="*/ 7750398 w 7750397"/>
              <a:gd name="connsiteY18" fmla="*/ 366998 h 2095880"/>
              <a:gd name="connsiteX19" fmla="*/ 7383304 w 7750397"/>
              <a:gd name="connsiteY19" fmla="*/ 0 h 2095880"/>
              <a:gd name="connsiteX20" fmla="*/ 7040309 w 7750397"/>
              <a:gd name="connsiteY20" fmla="*/ 0 h 2095880"/>
              <a:gd name="connsiteX21" fmla="*/ 7016211 w 7750397"/>
              <a:gd name="connsiteY21" fmla="*/ 24098 h 2095880"/>
              <a:gd name="connsiteX22" fmla="*/ 7016401 w 7750397"/>
              <a:gd name="connsiteY22" fmla="*/ 709708 h 2095880"/>
              <a:gd name="connsiteX23" fmla="*/ 7040499 w 7750397"/>
              <a:gd name="connsiteY23" fmla="*/ 733806 h 2095880"/>
              <a:gd name="connsiteX24" fmla="*/ 7726299 w 7750397"/>
              <a:gd name="connsiteY24" fmla="*/ 733806 h 2095880"/>
              <a:gd name="connsiteX25" fmla="*/ 7750398 w 7750397"/>
              <a:gd name="connsiteY25" fmla="*/ 709708 h 2095880"/>
              <a:gd name="connsiteX26" fmla="*/ 7750398 w 7750397"/>
              <a:gd name="connsiteY26" fmla="*/ 366998 h 2095880"/>
              <a:gd name="connsiteX27" fmla="*/ 6719602 w 7750397"/>
              <a:gd name="connsiteY27" fmla="*/ 829437 h 2095880"/>
              <a:gd name="connsiteX28" fmla="*/ 6695599 w 7750397"/>
              <a:gd name="connsiteY28" fmla="*/ 853440 h 2095880"/>
              <a:gd name="connsiteX29" fmla="*/ 6695599 w 7750397"/>
              <a:gd name="connsiteY29" fmla="*/ 1031177 h 2095880"/>
              <a:gd name="connsiteX30" fmla="*/ 6719602 w 7750397"/>
              <a:gd name="connsiteY30" fmla="*/ 1055275 h 2095880"/>
              <a:gd name="connsiteX31" fmla="*/ 6896957 w 7750397"/>
              <a:gd name="connsiteY31" fmla="*/ 1055275 h 2095880"/>
              <a:gd name="connsiteX32" fmla="*/ 6921056 w 7750397"/>
              <a:gd name="connsiteY32" fmla="*/ 1031272 h 2095880"/>
              <a:gd name="connsiteX33" fmla="*/ 6921056 w 7750397"/>
              <a:gd name="connsiteY33" fmla="*/ 853440 h 2095880"/>
              <a:gd name="connsiteX34" fmla="*/ 6896957 w 7750397"/>
              <a:gd name="connsiteY34" fmla="*/ 829437 h 2095880"/>
              <a:gd name="connsiteX35" fmla="*/ 6719602 w 7750397"/>
              <a:gd name="connsiteY35" fmla="*/ 829437 h 2095880"/>
              <a:gd name="connsiteX36" fmla="*/ 1851660 w 7750397"/>
              <a:gd name="connsiteY36" fmla="*/ 1069181 h 2095880"/>
              <a:gd name="connsiteX37" fmla="*/ 1712595 w 7750397"/>
              <a:gd name="connsiteY37" fmla="*/ 1099566 h 2095880"/>
              <a:gd name="connsiteX38" fmla="*/ 1599057 w 7750397"/>
              <a:gd name="connsiteY38" fmla="*/ 1194721 h 2095880"/>
              <a:gd name="connsiteX39" fmla="*/ 1508189 w 7750397"/>
              <a:gd name="connsiteY39" fmla="*/ 1100233 h 2095880"/>
              <a:gd name="connsiteX40" fmla="*/ 1387126 w 7750397"/>
              <a:gd name="connsiteY40" fmla="*/ 1070515 h 2095880"/>
              <a:gd name="connsiteX41" fmla="*/ 1251299 w 7750397"/>
              <a:gd name="connsiteY41" fmla="*/ 1100900 h 2095880"/>
              <a:gd name="connsiteX42" fmla="*/ 1145000 w 7750397"/>
              <a:gd name="connsiteY42" fmla="*/ 1194816 h 2095880"/>
              <a:gd name="connsiteX43" fmla="*/ 1145000 w 7750397"/>
              <a:gd name="connsiteY43" fmla="*/ 1089755 h 2095880"/>
              <a:gd name="connsiteX44" fmla="*/ 887159 w 7750397"/>
              <a:gd name="connsiteY44" fmla="*/ 1089755 h 2095880"/>
              <a:gd name="connsiteX45" fmla="*/ 887159 w 7750397"/>
              <a:gd name="connsiteY45" fmla="*/ 1808512 h 2095880"/>
              <a:gd name="connsiteX46" fmla="*/ 1166717 w 7750397"/>
              <a:gd name="connsiteY46" fmla="*/ 1808512 h 2095880"/>
              <a:gd name="connsiteX47" fmla="*/ 1166717 w 7750397"/>
              <a:gd name="connsiteY47" fmla="*/ 1422368 h 2095880"/>
              <a:gd name="connsiteX48" fmla="*/ 1191292 w 7750397"/>
              <a:gd name="connsiteY48" fmla="*/ 1327785 h 2095880"/>
              <a:gd name="connsiteX49" fmla="*/ 1263110 w 7750397"/>
              <a:gd name="connsiteY49" fmla="*/ 1295400 h 2095880"/>
              <a:gd name="connsiteX50" fmla="*/ 1339501 w 7750397"/>
              <a:gd name="connsiteY50" fmla="*/ 1327499 h 2095880"/>
              <a:gd name="connsiteX51" fmla="*/ 1362837 w 7750397"/>
              <a:gd name="connsiteY51" fmla="*/ 1433608 h 2095880"/>
              <a:gd name="connsiteX52" fmla="*/ 1362837 w 7750397"/>
              <a:gd name="connsiteY52" fmla="*/ 1808512 h 2095880"/>
              <a:gd name="connsiteX53" fmla="*/ 1641062 w 7750397"/>
              <a:gd name="connsiteY53" fmla="*/ 1808512 h 2095880"/>
              <a:gd name="connsiteX54" fmla="*/ 1641062 w 7750397"/>
              <a:gd name="connsiteY54" fmla="*/ 1426369 h 2095880"/>
              <a:gd name="connsiteX55" fmla="*/ 1665351 w 7750397"/>
              <a:gd name="connsiteY55" fmla="*/ 1327214 h 2095880"/>
              <a:gd name="connsiteX56" fmla="*/ 1741456 w 7750397"/>
              <a:gd name="connsiteY56" fmla="*/ 1295400 h 2095880"/>
              <a:gd name="connsiteX57" fmla="*/ 1814608 w 7750397"/>
              <a:gd name="connsiteY57" fmla="*/ 1325880 h 2095880"/>
              <a:gd name="connsiteX58" fmla="*/ 1837277 w 7750397"/>
              <a:gd name="connsiteY58" fmla="*/ 1423702 h 2095880"/>
              <a:gd name="connsiteX59" fmla="*/ 1837277 w 7750397"/>
              <a:gd name="connsiteY59" fmla="*/ 1808512 h 2095880"/>
              <a:gd name="connsiteX60" fmla="*/ 2116741 w 7750397"/>
              <a:gd name="connsiteY60" fmla="*/ 1808512 h 2095880"/>
              <a:gd name="connsiteX61" fmla="*/ 2116741 w 7750397"/>
              <a:gd name="connsiteY61" fmla="*/ 1318546 h 2095880"/>
              <a:gd name="connsiteX62" fmla="*/ 2047208 w 7750397"/>
              <a:gd name="connsiteY62" fmla="*/ 1134713 h 2095880"/>
              <a:gd name="connsiteX63" fmla="*/ 1851660 w 7750397"/>
              <a:gd name="connsiteY63" fmla="*/ 1069277 h 2095880"/>
              <a:gd name="connsiteX64" fmla="*/ 411575 w 7750397"/>
              <a:gd name="connsiteY64" fmla="*/ 1066324 h 2095880"/>
              <a:gd name="connsiteX65" fmla="*/ 0 w 7750397"/>
              <a:gd name="connsiteY65" fmla="*/ 1456277 h 2095880"/>
              <a:gd name="connsiteX66" fmla="*/ 400717 w 7750397"/>
              <a:gd name="connsiteY66" fmla="*/ 1834134 h 2095880"/>
              <a:gd name="connsiteX67" fmla="*/ 796100 w 7750397"/>
              <a:gd name="connsiteY67" fmla="*/ 1596676 h 2095880"/>
              <a:gd name="connsiteX68" fmla="*/ 523494 w 7750397"/>
              <a:gd name="connsiteY68" fmla="*/ 1596676 h 2095880"/>
              <a:gd name="connsiteX69" fmla="*/ 416814 w 7750397"/>
              <a:gd name="connsiteY69" fmla="*/ 1656112 h 2095880"/>
              <a:gd name="connsiteX70" fmla="*/ 284607 w 7750397"/>
              <a:gd name="connsiteY70" fmla="*/ 1513046 h 2095880"/>
              <a:gd name="connsiteX71" fmla="*/ 818959 w 7750397"/>
              <a:gd name="connsiteY71" fmla="*/ 1513046 h 2095880"/>
              <a:gd name="connsiteX72" fmla="*/ 818959 w 7750397"/>
              <a:gd name="connsiteY72" fmla="*/ 1495520 h 2095880"/>
              <a:gd name="connsiteX73" fmla="*/ 411385 w 7750397"/>
              <a:gd name="connsiteY73" fmla="*/ 1066419 h 2095880"/>
              <a:gd name="connsiteX74" fmla="*/ 284797 w 7750397"/>
              <a:gd name="connsiteY74" fmla="*/ 1369885 h 2095880"/>
              <a:gd name="connsiteX75" fmla="*/ 408908 w 7750397"/>
              <a:gd name="connsiteY75" fmla="*/ 1236250 h 2095880"/>
              <a:gd name="connsiteX76" fmla="*/ 538448 w 7750397"/>
              <a:gd name="connsiteY76" fmla="*/ 1369885 h 2095880"/>
              <a:gd name="connsiteX77" fmla="*/ 284797 w 7750397"/>
              <a:gd name="connsiteY77" fmla="*/ 1369885 h 2095880"/>
              <a:gd name="connsiteX78" fmla="*/ 2702052 w 7750397"/>
              <a:gd name="connsiteY78" fmla="*/ 1072991 h 2095880"/>
              <a:gd name="connsiteX79" fmla="*/ 2470023 w 7750397"/>
              <a:gd name="connsiteY79" fmla="*/ 1183672 h 2095880"/>
              <a:gd name="connsiteX80" fmla="*/ 2470023 w 7750397"/>
              <a:gd name="connsiteY80" fmla="*/ 1091851 h 2095880"/>
              <a:gd name="connsiteX81" fmla="*/ 2217706 w 7750397"/>
              <a:gd name="connsiteY81" fmla="*/ 1091851 h 2095880"/>
              <a:gd name="connsiteX82" fmla="*/ 2217706 w 7750397"/>
              <a:gd name="connsiteY82" fmla="*/ 2095881 h 2095880"/>
              <a:gd name="connsiteX83" fmla="*/ 2494312 w 7750397"/>
              <a:gd name="connsiteY83" fmla="*/ 2095881 h 2095880"/>
              <a:gd name="connsiteX84" fmla="*/ 2494312 w 7750397"/>
              <a:gd name="connsiteY84" fmla="*/ 1740980 h 2095880"/>
              <a:gd name="connsiteX85" fmla="*/ 2696718 w 7750397"/>
              <a:gd name="connsiteY85" fmla="*/ 1832705 h 2095880"/>
              <a:gd name="connsiteX86" fmla="*/ 3013901 w 7750397"/>
              <a:gd name="connsiteY86" fmla="*/ 1452182 h 2095880"/>
              <a:gd name="connsiteX87" fmla="*/ 2702147 w 7750397"/>
              <a:gd name="connsiteY87" fmla="*/ 1072991 h 2095880"/>
              <a:gd name="connsiteX88" fmla="*/ 2611660 w 7750397"/>
              <a:gd name="connsiteY88" fmla="*/ 1614202 h 2095880"/>
              <a:gd name="connsiteX89" fmla="*/ 2494312 w 7750397"/>
              <a:gd name="connsiteY89" fmla="*/ 1452182 h 2095880"/>
              <a:gd name="connsiteX90" fmla="*/ 2614422 w 7750397"/>
              <a:gd name="connsiteY90" fmla="*/ 1286161 h 2095880"/>
              <a:gd name="connsiteX91" fmla="*/ 2729103 w 7750397"/>
              <a:gd name="connsiteY91" fmla="*/ 1452182 h 2095880"/>
              <a:gd name="connsiteX92" fmla="*/ 2611660 w 7750397"/>
              <a:gd name="connsiteY92" fmla="*/ 1614202 h 2095880"/>
              <a:gd name="connsiteX93" fmla="*/ 3458623 w 7750397"/>
              <a:gd name="connsiteY93" fmla="*/ 1066324 h 2095880"/>
              <a:gd name="connsiteX94" fmla="*/ 3053810 w 7750397"/>
              <a:gd name="connsiteY94" fmla="*/ 1449515 h 2095880"/>
              <a:gd name="connsiteX95" fmla="*/ 3458623 w 7750397"/>
              <a:gd name="connsiteY95" fmla="*/ 1834134 h 2095880"/>
              <a:gd name="connsiteX96" fmla="*/ 3863435 w 7750397"/>
              <a:gd name="connsiteY96" fmla="*/ 1449515 h 2095880"/>
              <a:gd name="connsiteX97" fmla="*/ 3458623 w 7750397"/>
              <a:gd name="connsiteY97" fmla="*/ 1066324 h 2095880"/>
              <a:gd name="connsiteX98" fmla="*/ 3458623 w 7750397"/>
              <a:gd name="connsiteY98" fmla="*/ 1635728 h 2095880"/>
              <a:gd name="connsiteX99" fmla="*/ 3341180 w 7750397"/>
              <a:gd name="connsiteY99" fmla="*/ 1449515 h 2095880"/>
              <a:gd name="connsiteX100" fmla="*/ 3458623 w 7750397"/>
              <a:gd name="connsiteY100" fmla="*/ 1264634 h 2095880"/>
              <a:gd name="connsiteX101" fmla="*/ 3577400 w 7750397"/>
              <a:gd name="connsiteY101" fmla="*/ 1449515 h 2095880"/>
              <a:gd name="connsiteX102" fmla="*/ 3458623 w 7750397"/>
              <a:gd name="connsiteY102" fmla="*/ 1635728 h 2095880"/>
              <a:gd name="connsiteX103" fmla="*/ 4805744 w 7750397"/>
              <a:gd name="connsiteY103" fmla="*/ 1091851 h 2095880"/>
              <a:gd name="connsiteX104" fmla="*/ 4699159 w 7750397"/>
              <a:gd name="connsiteY104" fmla="*/ 1529143 h 2095880"/>
              <a:gd name="connsiteX105" fmla="*/ 4588478 w 7750397"/>
              <a:gd name="connsiteY105" fmla="*/ 1091851 h 2095880"/>
              <a:gd name="connsiteX106" fmla="*/ 4348258 w 7750397"/>
              <a:gd name="connsiteY106" fmla="*/ 1091851 h 2095880"/>
              <a:gd name="connsiteX107" fmla="*/ 4237578 w 7750397"/>
              <a:gd name="connsiteY107" fmla="*/ 1529143 h 2095880"/>
              <a:gd name="connsiteX108" fmla="*/ 4130898 w 7750397"/>
              <a:gd name="connsiteY108" fmla="*/ 1091851 h 2095880"/>
              <a:gd name="connsiteX109" fmla="*/ 3848862 w 7750397"/>
              <a:gd name="connsiteY109" fmla="*/ 1091851 h 2095880"/>
              <a:gd name="connsiteX110" fmla="*/ 4085082 w 7750397"/>
              <a:gd name="connsiteY110" fmla="*/ 1808512 h 2095880"/>
              <a:gd name="connsiteX111" fmla="*/ 4364356 w 7750397"/>
              <a:gd name="connsiteY111" fmla="*/ 1808512 h 2095880"/>
              <a:gd name="connsiteX112" fmla="*/ 4468368 w 7750397"/>
              <a:gd name="connsiteY112" fmla="*/ 1394174 h 2095880"/>
              <a:gd name="connsiteX113" fmla="*/ 4572191 w 7750397"/>
              <a:gd name="connsiteY113" fmla="*/ 1808512 h 2095880"/>
              <a:gd name="connsiteX114" fmla="*/ 4851559 w 7750397"/>
              <a:gd name="connsiteY114" fmla="*/ 1808512 h 2095880"/>
              <a:gd name="connsiteX115" fmla="*/ 5076825 w 7750397"/>
              <a:gd name="connsiteY115" fmla="*/ 1091851 h 2095880"/>
              <a:gd name="connsiteX116" fmla="*/ 4805648 w 7750397"/>
              <a:gd name="connsiteY116" fmla="*/ 1091851 h 2095880"/>
              <a:gd name="connsiteX117" fmla="*/ 5476018 w 7750397"/>
              <a:gd name="connsiteY117" fmla="*/ 1066229 h 2095880"/>
              <a:gd name="connsiteX118" fmla="*/ 5064443 w 7750397"/>
              <a:gd name="connsiteY118" fmla="*/ 1456182 h 2095880"/>
              <a:gd name="connsiteX119" fmla="*/ 5465159 w 7750397"/>
              <a:gd name="connsiteY119" fmla="*/ 1834039 h 2095880"/>
              <a:gd name="connsiteX120" fmla="*/ 5860542 w 7750397"/>
              <a:gd name="connsiteY120" fmla="*/ 1596581 h 2095880"/>
              <a:gd name="connsiteX121" fmla="*/ 5587937 w 7750397"/>
              <a:gd name="connsiteY121" fmla="*/ 1596581 h 2095880"/>
              <a:gd name="connsiteX122" fmla="*/ 5481257 w 7750397"/>
              <a:gd name="connsiteY122" fmla="*/ 1656017 h 2095880"/>
              <a:gd name="connsiteX123" fmla="*/ 5349049 w 7750397"/>
              <a:gd name="connsiteY123" fmla="*/ 1512951 h 2095880"/>
              <a:gd name="connsiteX124" fmla="*/ 5883402 w 7750397"/>
              <a:gd name="connsiteY124" fmla="*/ 1512951 h 2095880"/>
              <a:gd name="connsiteX125" fmla="*/ 5883402 w 7750397"/>
              <a:gd name="connsiteY125" fmla="*/ 1495425 h 2095880"/>
              <a:gd name="connsiteX126" fmla="*/ 5475828 w 7750397"/>
              <a:gd name="connsiteY126" fmla="*/ 1066324 h 2095880"/>
              <a:gd name="connsiteX127" fmla="*/ 5349240 w 7750397"/>
              <a:gd name="connsiteY127" fmla="*/ 1369790 h 2095880"/>
              <a:gd name="connsiteX128" fmla="*/ 5473351 w 7750397"/>
              <a:gd name="connsiteY128" fmla="*/ 1236155 h 2095880"/>
              <a:gd name="connsiteX129" fmla="*/ 5602891 w 7750397"/>
              <a:gd name="connsiteY129" fmla="*/ 1369790 h 2095880"/>
              <a:gd name="connsiteX130" fmla="*/ 5349240 w 7750397"/>
              <a:gd name="connsiteY130" fmla="*/ 1369790 h 2095880"/>
              <a:gd name="connsiteX131" fmla="*/ 6443377 w 7750397"/>
              <a:gd name="connsiteY131" fmla="*/ 1072896 h 2095880"/>
              <a:gd name="connsiteX132" fmla="*/ 6220682 w 7750397"/>
              <a:gd name="connsiteY132" fmla="*/ 1222724 h 2095880"/>
              <a:gd name="connsiteX133" fmla="*/ 6220682 w 7750397"/>
              <a:gd name="connsiteY133" fmla="*/ 1091756 h 2095880"/>
              <a:gd name="connsiteX134" fmla="*/ 5957507 w 7750397"/>
              <a:gd name="connsiteY134" fmla="*/ 1091756 h 2095880"/>
              <a:gd name="connsiteX135" fmla="*/ 5957507 w 7750397"/>
              <a:gd name="connsiteY135" fmla="*/ 1808417 h 2095880"/>
              <a:gd name="connsiteX136" fmla="*/ 6243543 w 7750397"/>
              <a:gd name="connsiteY136" fmla="*/ 1808417 h 2095880"/>
              <a:gd name="connsiteX137" fmla="*/ 6243543 w 7750397"/>
              <a:gd name="connsiteY137" fmla="*/ 1514285 h 2095880"/>
              <a:gd name="connsiteX138" fmla="*/ 6410897 w 7750397"/>
              <a:gd name="connsiteY138" fmla="*/ 1353598 h 2095880"/>
              <a:gd name="connsiteX139" fmla="*/ 6468999 w 7750397"/>
              <a:gd name="connsiteY139" fmla="*/ 1357693 h 2095880"/>
              <a:gd name="connsiteX140" fmla="*/ 6468999 w 7750397"/>
              <a:gd name="connsiteY140" fmla="*/ 1072896 h 2095880"/>
              <a:gd name="connsiteX141" fmla="*/ 6443377 w 7750397"/>
              <a:gd name="connsiteY141" fmla="*/ 1072896 h 209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7750397" h="2095880">
                <a:moveTo>
                  <a:pt x="6897053" y="282131"/>
                </a:moveTo>
                <a:lnTo>
                  <a:pt x="6921151" y="306229"/>
                </a:lnTo>
                <a:lnTo>
                  <a:pt x="6921151" y="709708"/>
                </a:lnTo>
                <a:lnTo>
                  <a:pt x="6897053" y="733806"/>
                </a:lnTo>
                <a:lnTo>
                  <a:pt x="6493574" y="733806"/>
                </a:lnTo>
                <a:lnTo>
                  <a:pt x="6469475" y="709708"/>
                </a:lnTo>
                <a:lnTo>
                  <a:pt x="6469475" y="306229"/>
                </a:lnTo>
                <a:lnTo>
                  <a:pt x="6493574" y="282131"/>
                </a:lnTo>
                <a:lnTo>
                  <a:pt x="6897053" y="282131"/>
                </a:lnTo>
                <a:close/>
                <a:moveTo>
                  <a:pt x="7040594" y="829342"/>
                </a:moveTo>
                <a:lnTo>
                  <a:pt x="7016497" y="853345"/>
                </a:lnTo>
                <a:lnTo>
                  <a:pt x="7016497" y="1256919"/>
                </a:lnTo>
                <a:lnTo>
                  <a:pt x="7040594" y="1281017"/>
                </a:lnTo>
                <a:lnTo>
                  <a:pt x="7444073" y="1281017"/>
                </a:lnTo>
                <a:lnTo>
                  <a:pt x="7468077" y="1256919"/>
                </a:lnTo>
                <a:lnTo>
                  <a:pt x="7468077" y="853345"/>
                </a:lnTo>
                <a:lnTo>
                  <a:pt x="7444073" y="829342"/>
                </a:lnTo>
                <a:lnTo>
                  <a:pt x="7040594" y="829342"/>
                </a:lnTo>
                <a:close/>
                <a:moveTo>
                  <a:pt x="7750398" y="366998"/>
                </a:moveTo>
                <a:lnTo>
                  <a:pt x="7383304" y="0"/>
                </a:lnTo>
                <a:lnTo>
                  <a:pt x="7040309" y="0"/>
                </a:lnTo>
                <a:lnTo>
                  <a:pt x="7016211" y="24098"/>
                </a:lnTo>
                <a:lnTo>
                  <a:pt x="7016401" y="709708"/>
                </a:lnTo>
                <a:lnTo>
                  <a:pt x="7040499" y="733806"/>
                </a:lnTo>
                <a:lnTo>
                  <a:pt x="7726299" y="733806"/>
                </a:lnTo>
                <a:lnTo>
                  <a:pt x="7750398" y="709708"/>
                </a:lnTo>
                <a:lnTo>
                  <a:pt x="7750398" y="366998"/>
                </a:lnTo>
                <a:close/>
                <a:moveTo>
                  <a:pt x="6719602" y="829437"/>
                </a:moveTo>
                <a:lnTo>
                  <a:pt x="6695599" y="853440"/>
                </a:lnTo>
                <a:lnTo>
                  <a:pt x="6695599" y="1031177"/>
                </a:lnTo>
                <a:lnTo>
                  <a:pt x="6719602" y="1055275"/>
                </a:lnTo>
                <a:lnTo>
                  <a:pt x="6896957" y="1055275"/>
                </a:lnTo>
                <a:lnTo>
                  <a:pt x="6921056" y="1031272"/>
                </a:lnTo>
                <a:lnTo>
                  <a:pt x="6921056" y="853440"/>
                </a:lnTo>
                <a:lnTo>
                  <a:pt x="6896957" y="829437"/>
                </a:lnTo>
                <a:lnTo>
                  <a:pt x="6719602" y="829437"/>
                </a:lnTo>
                <a:close/>
                <a:moveTo>
                  <a:pt x="1851660" y="1069181"/>
                </a:moveTo>
                <a:cubicBezTo>
                  <a:pt x="1800035" y="1069181"/>
                  <a:pt x="1753648" y="1079373"/>
                  <a:pt x="1712595" y="1099566"/>
                </a:cubicBezTo>
                <a:cubicBezTo>
                  <a:pt x="1671447" y="1119854"/>
                  <a:pt x="1633633" y="1151573"/>
                  <a:pt x="1599057" y="1194721"/>
                </a:cubicBezTo>
                <a:cubicBezTo>
                  <a:pt x="1572387" y="1151573"/>
                  <a:pt x="1542098" y="1120045"/>
                  <a:pt x="1508189" y="1100233"/>
                </a:cubicBezTo>
                <a:cubicBezTo>
                  <a:pt x="1474280" y="1080421"/>
                  <a:pt x="1433893" y="1070515"/>
                  <a:pt x="1387126" y="1070515"/>
                </a:cubicBezTo>
                <a:cubicBezTo>
                  <a:pt x="1335977" y="1070515"/>
                  <a:pt x="1290638" y="1080611"/>
                  <a:pt x="1251299" y="1100900"/>
                </a:cubicBezTo>
                <a:cubicBezTo>
                  <a:pt x="1211961" y="1121188"/>
                  <a:pt x="1176528" y="1152430"/>
                  <a:pt x="1145000" y="1194816"/>
                </a:cubicBezTo>
                <a:lnTo>
                  <a:pt x="1145000" y="1089755"/>
                </a:lnTo>
                <a:lnTo>
                  <a:pt x="887159" y="1089755"/>
                </a:lnTo>
                <a:lnTo>
                  <a:pt x="887159" y="1808512"/>
                </a:lnTo>
                <a:lnTo>
                  <a:pt x="1166717" y="1808512"/>
                </a:lnTo>
                <a:lnTo>
                  <a:pt x="1166717" y="1422368"/>
                </a:lnTo>
                <a:cubicBezTo>
                  <a:pt x="1166717" y="1380935"/>
                  <a:pt x="1174909" y="1349407"/>
                  <a:pt x="1191292" y="1327785"/>
                </a:cubicBezTo>
                <a:cubicBezTo>
                  <a:pt x="1207675" y="1306163"/>
                  <a:pt x="1231678" y="1295400"/>
                  <a:pt x="1263110" y="1295400"/>
                </a:cubicBezTo>
                <a:cubicBezTo>
                  <a:pt x="1298543" y="1295400"/>
                  <a:pt x="1323975" y="1306068"/>
                  <a:pt x="1339501" y="1327499"/>
                </a:cubicBezTo>
                <a:cubicBezTo>
                  <a:pt x="1355027" y="1348931"/>
                  <a:pt x="1362837" y="1384268"/>
                  <a:pt x="1362837" y="1433608"/>
                </a:cubicBezTo>
                <a:lnTo>
                  <a:pt x="1362837" y="1808512"/>
                </a:lnTo>
                <a:lnTo>
                  <a:pt x="1641062" y="1808512"/>
                </a:lnTo>
                <a:lnTo>
                  <a:pt x="1641062" y="1426369"/>
                </a:lnTo>
                <a:cubicBezTo>
                  <a:pt x="1641062" y="1381411"/>
                  <a:pt x="1649159" y="1348359"/>
                  <a:pt x="1665351" y="1327214"/>
                </a:cubicBezTo>
                <a:cubicBezTo>
                  <a:pt x="1681543" y="1306068"/>
                  <a:pt x="1706880" y="1295400"/>
                  <a:pt x="1741456" y="1295400"/>
                </a:cubicBezTo>
                <a:cubicBezTo>
                  <a:pt x="1776032" y="1295400"/>
                  <a:pt x="1799558" y="1305592"/>
                  <a:pt x="1814608" y="1325880"/>
                </a:cubicBezTo>
                <a:cubicBezTo>
                  <a:pt x="1829657" y="1346168"/>
                  <a:pt x="1837277" y="1378744"/>
                  <a:pt x="1837277" y="1423702"/>
                </a:cubicBezTo>
                <a:lnTo>
                  <a:pt x="1837277" y="1808512"/>
                </a:lnTo>
                <a:lnTo>
                  <a:pt x="2116741" y="1808512"/>
                </a:lnTo>
                <a:lnTo>
                  <a:pt x="2116741" y="1318546"/>
                </a:lnTo>
                <a:cubicBezTo>
                  <a:pt x="2116741" y="1239679"/>
                  <a:pt x="2093595" y="1178338"/>
                  <a:pt x="2047208" y="1134713"/>
                </a:cubicBezTo>
                <a:cubicBezTo>
                  <a:pt x="2000822" y="1091089"/>
                  <a:pt x="1935670" y="1069277"/>
                  <a:pt x="1851660" y="1069277"/>
                </a:cubicBezTo>
                <a:close/>
                <a:moveTo>
                  <a:pt x="411575" y="1066324"/>
                </a:moveTo>
                <a:cubicBezTo>
                  <a:pt x="156591" y="1066324"/>
                  <a:pt x="0" y="1216057"/>
                  <a:pt x="0" y="1456277"/>
                </a:cubicBezTo>
                <a:cubicBezTo>
                  <a:pt x="0" y="1696498"/>
                  <a:pt x="152495" y="1834134"/>
                  <a:pt x="400717" y="1834134"/>
                </a:cubicBezTo>
                <a:cubicBezTo>
                  <a:pt x="622078" y="1834134"/>
                  <a:pt x="757047" y="1751838"/>
                  <a:pt x="796100" y="1596676"/>
                </a:cubicBezTo>
                <a:lnTo>
                  <a:pt x="523494" y="1596676"/>
                </a:lnTo>
                <a:cubicBezTo>
                  <a:pt x="509968" y="1634490"/>
                  <a:pt x="472250" y="1656112"/>
                  <a:pt x="416814" y="1656112"/>
                </a:cubicBezTo>
                <a:cubicBezTo>
                  <a:pt x="334518" y="1656112"/>
                  <a:pt x="287274" y="1604867"/>
                  <a:pt x="284607" y="1513046"/>
                </a:cubicBezTo>
                <a:lnTo>
                  <a:pt x="818959" y="1513046"/>
                </a:lnTo>
                <a:lnTo>
                  <a:pt x="818959" y="1495520"/>
                </a:lnTo>
                <a:cubicBezTo>
                  <a:pt x="818959" y="1225582"/>
                  <a:pt x="665131" y="1066419"/>
                  <a:pt x="411385" y="1066419"/>
                </a:cubicBezTo>
                <a:close/>
                <a:moveTo>
                  <a:pt x="284797" y="1369885"/>
                </a:moveTo>
                <a:cubicBezTo>
                  <a:pt x="288703" y="1284923"/>
                  <a:pt x="334709" y="1236250"/>
                  <a:pt x="408908" y="1236250"/>
                </a:cubicBezTo>
                <a:cubicBezTo>
                  <a:pt x="489871" y="1236250"/>
                  <a:pt x="533019" y="1280827"/>
                  <a:pt x="538448" y="1369885"/>
                </a:cubicBezTo>
                <a:lnTo>
                  <a:pt x="284797" y="1369885"/>
                </a:lnTo>
                <a:close/>
                <a:moveTo>
                  <a:pt x="2702052" y="1072991"/>
                </a:moveTo>
                <a:cubicBezTo>
                  <a:pt x="2599563" y="1072991"/>
                  <a:pt x="2526697" y="1106710"/>
                  <a:pt x="2470023" y="1183672"/>
                </a:cubicBezTo>
                <a:lnTo>
                  <a:pt x="2470023" y="1091851"/>
                </a:lnTo>
                <a:lnTo>
                  <a:pt x="2217706" y="1091851"/>
                </a:lnTo>
                <a:lnTo>
                  <a:pt x="2217706" y="2095881"/>
                </a:lnTo>
                <a:lnTo>
                  <a:pt x="2494312" y="2095881"/>
                </a:lnTo>
                <a:lnTo>
                  <a:pt x="2494312" y="1740980"/>
                </a:lnTo>
                <a:cubicBezTo>
                  <a:pt x="2544223" y="1804416"/>
                  <a:pt x="2608993" y="1832705"/>
                  <a:pt x="2696718" y="1832705"/>
                </a:cubicBezTo>
                <a:cubicBezTo>
                  <a:pt x="2888361" y="1832705"/>
                  <a:pt x="3013901" y="1685544"/>
                  <a:pt x="3013901" y="1452182"/>
                </a:cubicBezTo>
                <a:cubicBezTo>
                  <a:pt x="3013901" y="1218819"/>
                  <a:pt x="2884361" y="1072991"/>
                  <a:pt x="2702147" y="1072991"/>
                </a:cubicBezTo>
                <a:close/>
                <a:moveTo>
                  <a:pt x="2611660" y="1614202"/>
                </a:moveTo>
                <a:cubicBezTo>
                  <a:pt x="2533460" y="1614202"/>
                  <a:pt x="2494312" y="1560195"/>
                  <a:pt x="2494312" y="1452182"/>
                </a:cubicBezTo>
                <a:cubicBezTo>
                  <a:pt x="2494312" y="1338834"/>
                  <a:pt x="2529364" y="1286161"/>
                  <a:pt x="2614422" y="1286161"/>
                </a:cubicBezTo>
                <a:cubicBezTo>
                  <a:pt x="2692718" y="1286161"/>
                  <a:pt x="2729103" y="1340168"/>
                  <a:pt x="2729103" y="1452182"/>
                </a:cubicBezTo>
                <a:cubicBezTo>
                  <a:pt x="2729103" y="1564196"/>
                  <a:pt x="2688622" y="1614202"/>
                  <a:pt x="2611660" y="1614202"/>
                </a:cubicBezTo>
                <a:close/>
                <a:moveTo>
                  <a:pt x="3458623" y="1066324"/>
                </a:moveTo>
                <a:cubicBezTo>
                  <a:pt x="3206306" y="1066324"/>
                  <a:pt x="3053810" y="1211961"/>
                  <a:pt x="3053810" y="1449515"/>
                </a:cubicBezTo>
                <a:cubicBezTo>
                  <a:pt x="3053810" y="1687068"/>
                  <a:pt x="3206306" y="1834134"/>
                  <a:pt x="3458623" y="1834134"/>
                </a:cubicBezTo>
                <a:cubicBezTo>
                  <a:pt x="3710940" y="1834134"/>
                  <a:pt x="3863435" y="1687068"/>
                  <a:pt x="3863435" y="1449515"/>
                </a:cubicBezTo>
                <a:cubicBezTo>
                  <a:pt x="3863435" y="1211961"/>
                  <a:pt x="3710940" y="1066324"/>
                  <a:pt x="3458623" y="1066324"/>
                </a:cubicBezTo>
                <a:close/>
                <a:moveTo>
                  <a:pt x="3458623" y="1635728"/>
                </a:moveTo>
                <a:cubicBezTo>
                  <a:pt x="3372231" y="1635728"/>
                  <a:pt x="3341180" y="1576388"/>
                  <a:pt x="3341180" y="1449515"/>
                </a:cubicBezTo>
                <a:cubicBezTo>
                  <a:pt x="3341180" y="1322642"/>
                  <a:pt x="3372231" y="1264634"/>
                  <a:pt x="3458623" y="1264634"/>
                </a:cubicBezTo>
                <a:cubicBezTo>
                  <a:pt x="3545015" y="1264634"/>
                  <a:pt x="3577400" y="1322737"/>
                  <a:pt x="3577400" y="1449515"/>
                </a:cubicBezTo>
                <a:cubicBezTo>
                  <a:pt x="3577400" y="1576292"/>
                  <a:pt x="3545015" y="1635728"/>
                  <a:pt x="3458623" y="1635728"/>
                </a:cubicBezTo>
                <a:close/>
                <a:moveTo>
                  <a:pt x="4805744" y="1091851"/>
                </a:moveTo>
                <a:lnTo>
                  <a:pt x="4699159" y="1529143"/>
                </a:lnTo>
                <a:lnTo>
                  <a:pt x="4588478" y="1091851"/>
                </a:lnTo>
                <a:lnTo>
                  <a:pt x="4348258" y="1091851"/>
                </a:lnTo>
                <a:lnTo>
                  <a:pt x="4237578" y="1529143"/>
                </a:lnTo>
                <a:lnTo>
                  <a:pt x="4130898" y="1091851"/>
                </a:lnTo>
                <a:lnTo>
                  <a:pt x="3848862" y="1091851"/>
                </a:lnTo>
                <a:lnTo>
                  <a:pt x="4085082" y="1808512"/>
                </a:lnTo>
                <a:lnTo>
                  <a:pt x="4364356" y="1808512"/>
                </a:lnTo>
                <a:lnTo>
                  <a:pt x="4468368" y="1394174"/>
                </a:lnTo>
                <a:lnTo>
                  <a:pt x="4572191" y="1808512"/>
                </a:lnTo>
                <a:lnTo>
                  <a:pt x="4851559" y="1808512"/>
                </a:lnTo>
                <a:lnTo>
                  <a:pt x="5076825" y="1091851"/>
                </a:lnTo>
                <a:lnTo>
                  <a:pt x="4805648" y="1091851"/>
                </a:lnTo>
                <a:close/>
                <a:moveTo>
                  <a:pt x="5476018" y="1066229"/>
                </a:moveTo>
                <a:cubicBezTo>
                  <a:pt x="5221034" y="1066229"/>
                  <a:pt x="5064443" y="1215962"/>
                  <a:pt x="5064443" y="1456182"/>
                </a:cubicBezTo>
                <a:cubicBezTo>
                  <a:pt x="5064443" y="1696402"/>
                  <a:pt x="5216938" y="1834039"/>
                  <a:pt x="5465159" y="1834039"/>
                </a:cubicBezTo>
                <a:cubicBezTo>
                  <a:pt x="5686521" y="1834039"/>
                  <a:pt x="5821490" y="1751743"/>
                  <a:pt x="5860542" y="1596581"/>
                </a:cubicBezTo>
                <a:lnTo>
                  <a:pt x="5587937" y="1596581"/>
                </a:lnTo>
                <a:cubicBezTo>
                  <a:pt x="5574411" y="1634395"/>
                  <a:pt x="5536597" y="1656017"/>
                  <a:pt x="5481257" y="1656017"/>
                </a:cubicBezTo>
                <a:cubicBezTo>
                  <a:pt x="5398961" y="1656017"/>
                  <a:pt x="5351717" y="1604772"/>
                  <a:pt x="5349049" y="1512951"/>
                </a:cubicBezTo>
                <a:lnTo>
                  <a:pt x="5883402" y="1512951"/>
                </a:lnTo>
                <a:lnTo>
                  <a:pt x="5883402" y="1495425"/>
                </a:lnTo>
                <a:cubicBezTo>
                  <a:pt x="5883402" y="1225487"/>
                  <a:pt x="5729573" y="1066324"/>
                  <a:pt x="5475828" y="1066324"/>
                </a:cubicBezTo>
                <a:close/>
                <a:moveTo>
                  <a:pt x="5349240" y="1369790"/>
                </a:moveTo>
                <a:cubicBezTo>
                  <a:pt x="5353146" y="1284827"/>
                  <a:pt x="5399151" y="1236155"/>
                  <a:pt x="5473351" y="1236155"/>
                </a:cubicBezTo>
                <a:cubicBezTo>
                  <a:pt x="5554314" y="1236155"/>
                  <a:pt x="5597462" y="1280732"/>
                  <a:pt x="5602891" y="1369790"/>
                </a:cubicBezTo>
                <a:lnTo>
                  <a:pt x="5349240" y="1369790"/>
                </a:lnTo>
                <a:close/>
                <a:moveTo>
                  <a:pt x="6443377" y="1072896"/>
                </a:moveTo>
                <a:cubicBezTo>
                  <a:pt x="6327267" y="1072896"/>
                  <a:pt x="6258497" y="1117378"/>
                  <a:pt x="6220682" y="1222724"/>
                </a:cubicBezTo>
                <a:lnTo>
                  <a:pt x="6220682" y="1091756"/>
                </a:lnTo>
                <a:lnTo>
                  <a:pt x="5957507" y="1091756"/>
                </a:lnTo>
                <a:lnTo>
                  <a:pt x="5957507" y="1808417"/>
                </a:lnTo>
                <a:lnTo>
                  <a:pt x="6243543" y="1808417"/>
                </a:lnTo>
                <a:lnTo>
                  <a:pt x="6243543" y="1514285"/>
                </a:lnTo>
                <a:cubicBezTo>
                  <a:pt x="6243543" y="1403604"/>
                  <a:pt x="6296216" y="1353598"/>
                  <a:pt x="6410897" y="1353598"/>
                </a:cubicBezTo>
                <a:cubicBezTo>
                  <a:pt x="6428423" y="1353598"/>
                  <a:pt x="6447378" y="1355027"/>
                  <a:pt x="6468999" y="1357693"/>
                </a:cubicBezTo>
                <a:lnTo>
                  <a:pt x="6468999" y="1072896"/>
                </a:lnTo>
                <a:lnTo>
                  <a:pt x="6443377" y="1072896"/>
                </a:lnTo>
                <a:close/>
              </a:path>
            </a:pathLst>
          </a:custGeom>
          <a:solidFill>
            <a:schemeClr val="tx2"/>
          </a:solidFill>
          <a:ln w="9525" cap="flat">
            <a:noFill/>
            <a:prstDash val="solid"/>
            <a:miter/>
          </a:ln>
        </p:spPr>
        <p:txBody>
          <a:bodyPr rtlCol="0" anchor="ctr"/>
          <a:lstStyle/>
          <a:p>
            <a:endParaRPr lang="en-US"/>
          </a:p>
        </p:txBody>
      </p:sp>
      <p:sp>
        <p:nvSpPr>
          <p:cNvPr id="12" name="Blue Block">
            <a:extLst>
              <a:ext uri="{FF2B5EF4-FFF2-40B4-BE49-F238E27FC236}">
                <a16:creationId xmlns:a16="http://schemas.microsoft.com/office/drawing/2014/main" id="{D00D9B82-CF9A-0D93-6F46-B6D1542878BF}"/>
              </a:ext>
            </a:extLst>
          </p:cNvPr>
          <p:cNvSpPr/>
          <p:nvPr/>
        </p:nvSpPr>
        <p:spPr bwMode="white">
          <a:xfrm>
            <a:off x="0" y="0"/>
            <a:ext cx="4860000" cy="46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T"/>
          </a:p>
        </p:txBody>
      </p:sp>
      <p:sp>
        <p:nvSpPr>
          <p:cNvPr id="8" name="Subtitle">
            <a:extLst>
              <a:ext uri="{FF2B5EF4-FFF2-40B4-BE49-F238E27FC236}">
                <a16:creationId xmlns:a16="http://schemas.microsoft.com/office/drawing/2014/main" id="{BBD3EDA2-78B7-6B49-D40E-E33D2D383B5B}"/>
              </a:ext>
            </a:extLst>
          </p:cNvPr>
          <p:cNvSpPr>
            <a:spLocks noGrp="1"/>
          </p:cNvSpPr>
          <p:nvPr>
            <p:ph type="subTitle" idx="1" hasCustomPrompt="1"/>
          </p:nvPr>
        </p:nvSpPr>
        <p:spPr>
          <a:xfrm>
            <a:off x="550800" y="3061072"/>
            <a:ext cx="3454400" cy="1016000"/>
          </a:xfrm>
          <a:prstGeom prst="rect">
            <a:avLst/>
          </a:prstGeom>
        </p:spPr>
        <p:txBody>
          <a:bodyPr anchor="t"/>
          <a:lstStyle>
            <a:lvl1pPr marL="0" indent="0" algn="l" defTabSz="203200" rtl="0" eaLnBrk="1" latinLnBrk="0" hangingPunct="1">
              <a:lnSpc>
                <a:spcPct val="90000"/>
              </a:lnSpc>
              <a:spcBef>
                <a:spcPct val="0"/>
              </a:spcBef>
              <a:spcAft>
                <a:spcPts val="600"/>
              </a:spcAft>
              <a:buFontTx/>
              <a:buNone/>
              <a:defRPr lang="en-US" sz="2400" kern="1200" baseline="0">
                <a:solidFill>
                  <a:schemeClr val="bg1"/>
                </a:solidFill>
                <a:latin typeface="+mn-lt"/>
                <a:ea typeface="+mn-ea"/>
                <a:cs typeface="+mn-cs"/>
              </a:defRPr>
            </a:lvl1pPr>
            <a:lvl2pPr marL="0" indent="0" algn="l">
              <a:lnSpc>
                <a:spcPct val="100000"/>
              </a:lnSpc>
              <a:spcBef>
                <a:spcPct val="0"/>
              </a:spcBef>
              <a:buNone/>
              <a:defRPr sz="14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a:t>
            </a:r>
            <a:br>
              <a:rPr lang="en-US"/>
            </a:br>
            <a:r>
              <a:rPr lang="en-US"/>
              <a:t>subtitle style</a:t>
            </a:r>
          </a:p>
        </p:txBody>
      </p:sp>
      <p:sp>
        <p:nvSpPr>
          <p:cNvPr id="7" name="Title">
            <a:extLst>
              <a:ext uri="{FF2B5EF4-FFF2-40B4-BE49-F238E27FC236}">
                <a16:creationId xmlns:a16="http://schemas.microsoft.com/office/drawing/2014/main" id="{DD0DF77D-FC8F-101B-4675-31AF887AF42D}"/>
              </a:ext>
            </a:extLst>
          </p:cNvPr>
          <p:cNvSpPr>
            <a:spLocks noGrp="1"/>
          </p:cNvSpPr>
          <p:nvPr>
            <p:ph type="title"/>
          </p:nvPr>
        </p:nvSpPr>
        <p:spPr>
          <a:xfrm>
            <a:off x="550800" y="838824"/>
            <a:ext cx="3454400" cy="2123658"/>
          </a:xfrm>
          <a:custGeom>
            <a:avLst/>
            <a:gdLst>
              <a:gd name="connsiteX0" fmla="*/ 0 w 8164842"/>
              <a:gd name="connsiteY0" fmla="*/ 0 h 1944775"/>
              <a:gd name="connsiteX1" fmla="*/ 8164842 w 8164842"/>
              <a:gd name="connsiteY1" fmla="*/ 0 h 1944775"/>
              <a:gd name="connsiteX2" fmla="*/ 8164842 w 8164842"/>
              <a:gd name="connsiteY2" fmla="*/ 1944775 h 1944775"/>
              <a:gd name="connsiteX3" fmla="*/ 0 w 8164842"/>
              <a:gd name="connsiteY3" fmla="*/ 1944775 h 1944775"/>
            </a:gdLst>
            <a:ahLst/>
            <a:cxnLst>
              <a:cxn ang="0">
                <a:pos x="connsiteX0" y="connsiteY0"/>
              </a:cxn>
              <a:cxn ang="0">
                <a:pos x="connsiteX1" y="connsiteY1"/>
              </a:cxn>
              <a:cxn ang="0">
                <a:pos x="connsiteX2" y="connsiteY2"/>
              </a:cxn>
              <a:cxn ang="0">
                <a:pos x="connsiteX3" y="connsiteY3"/>
              </a:cxn>
            </a:cxnLst>
            <a:rect l="l" t="t" r="r" b="b"/>
            <a:pathLst>
              <a:path w="8164842" h="1944775">
                <a:moveTo>
                  <a:pt x="0" y="0"/>
                </a:moveTo>
                <a:lnTo>
                  <a:pt x="8164842" y="0"/>
                </a:lnTo>
                <a:lnTo>
                  <a:pt x="8164842" y="1944775"/>
                </a:lnTo>
                <a:lnTo>
                  <a:pt x="0" y="1944775"/>
                </a:lnTo>
                <a:close/>
              </a:path>
            </a:pathLst>
          </a:custGeom>
        </p:spPr>
        <p:txBody>
          <a:bodyPr vert="horz" wrap="square" lIns="0" tIns="0" rIns="0" bIns="0" rtlCol="0" anchor="t" anchorCtr="0">
            <a:noAutofit/>
          </a:bodyPr>
          <a:lstStyle>
            <a:lvl1pPr algn="l">
              <a:lnSpc>
                <a:spcPct val="100000"/>
              </a:lnSpc>
              <a:defRPr lang="de-DE" sz="4600" b="0" i="0" spc="0" baseline="0">
                <a:solidFill>
                  <a:schemeClr val="bg1"/>
                </a:solidFill>
                <a:latin typeface="+mj-lt"/>
                <a:cs typeface="Segoe UI Semilight" panose="020B0502040204020203" pitchFamily="34" charset="0"/>
              </a:defRPr>
            </a:lvl1pPr>
          </a:lstStyle>
          <a:p>
            <a:pPr lvl="0"/>
            <a:r>
              <a:rPr lang="en-US" noProof="0"/>
              <a:t>Click to edit Master title style</a:t>
            </a:r>
            <a:endParaRPr lang="de-DE" noProof="0"/>
          </a:p>
        </p:txBody>
      </p:sp>
    </p:spTree>
    <p:extLst>
      <p:ext uri="{BB962C8B-B14F-4D97-AF65-F5344CB8AC3E}">
        <p14:creationId xmlns:p14="http://schemas.microsoft.com/office/powerpoint/2010/main" val="3754621425"/>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Right Block and Content">
    <p:spTree>
      <p:nvGrpSpPr>
        <p:cNvPr id="1" name=""/>
        <p:cNvGrpSpPr/>
        <p:nvPr/>
      </p:nvGrpSpPr>
      <p:grpSpPr>
        <a:xfrm>
          <a:off x="0" y="0"/>
          <a:ext cx="0" cy="0"/>
          <a:chOff x="0" y="0"/>
          <a:chExt cx="0" cy="0"/>
        </a:xfrm>
      </p:grpSpPr>
      <p:sp>
        <p:nvSpPr>
          <p:cNvPr id="7" name="Light Blue Background Box">
            <a:extLst>
              <a:ext uri="{FF2B5EF4-FFF2-40B4-BE49-F238E27FC236}">
                <a16:creationId xmlns:a16="http://schemas.microsoft.com/office/drawing/2014/main" id="{62DAFB2D-A6FA-E0E3-2171-2DD3336F39B2}"/>
              </a:ext>
            </a:extLst>
          </p:cNvPr>
          <p:cNvSpPr/>
          <p:nvPr/>
        </p:nvSpPr>
        <p:spPr bwMode="white">
          <a:xfrm>
            <a:off x="0" y="-1"/>
            <a:ext cx="6096000" cy="6857999"/>
          </a:xfrm>
          <a:prstGeom prst="rect">
            <a:avLst/>
          </a:prstGeom>
          <a:solidFill>
            <a:srgbClr val="EDFCFF"/>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PT" sz="1600">
              <a:solidFill>
                <a:schemeClr val="tx1"/>
              </a:solidFill>
            </a:endParaRPr>
          </a:p>
        </p:txBody>
      </p:sp>
      <p:sp>
        <p:nvSpPr>
          <p:cNvPr id="9" name="Content">
            <a:extLst>
              <a:ext uri="{FF2B5EF4-FFF2-40B4-BE49-F238E27FC236}">
                <a16:creationId xmlns:a16="http://schemas.microsoft.com/office/drawing/2014/main" id="{D4D98A6F-CCDA-3034-9A95-2A26056495A8}"/>
              </a:ext>
            </a:extLst>
          </p:cNvPr>
          <p:cNvSpPr>
            <a:spLocks noGrp="1"/>
          </p:cNvSpPr>
          <p:nvPr>
            <p:ph sz="quarter" idx="19"/>
          </p:nvPr>
        </p:nvSpPr>
        <p:spPr>
          <a:xfrm>
            <a:off x="550800" y="855000"/>
            <a:ext cx="5040000" cy="514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2" name="Title plus Content">
            <a:extLst>
              <a:ext uri="{FF2B5EF4-FFF2-40B4-BE49-F238E27FC236}">
                <a16:creationId xmlns:a16="http://schemas.microsoft.com/office/drawing/2014/main" id="{F7F8A338-A00D-2699-2172-8897CB3F0381}"/>
              </a:ext>
            </a:extLst>
          </p:cNvPr>
          <p:cNvSpPr>
            <a:spLocks noGrp="1"/>
          </p:cNvSpPr>
          <p:nvPr>
            <p:ph type="body" sz="quarter" idx="20"/>
          </p:nvPr>
        </p:nvSpPr>
        <p:spPr>
          <a:xfrm>
            <a:off x="6588000" y="2429670"/>
            <a:ext cx="5040000" cy="2045881"/>
          </a:xfrm>
        </p:spPr>
        <p:txBody>
          <a:bodyPr anchor="ctr">
            <a:spAutoFit/>
          </a:bodyPr>
          <a:lstStyle>
            <a:lvl1pPr>
              <a:lnSpc>
                <a:spcPct val="100000"/>
              </a:lnSpc>
              <a:spcBef>
                <a:spcPct val="0"/>
              </a:spcBef>
              <a:spcAft>
                <a:spcPts val="1200"/>
              </a:spcAft>
              <a:defRPr sz="4600">
                <a:solidFill>
                  <a:schemeClr val="tx2"/>
                </a:solidFill>
                <a:latin typeface="+mj-lt"/>
              </a:defRPr>
            </a:lvl1pPr>
            <a:lvl2pPr marL="0" indent="0">
              <a:lnSpc>
                <a:spcPct val="130000"/>
              </a:lnSpc>
              <a:buFontTx/>
              <a:buNone/>
              <a:defRPr/>
            </a:lvl2pPr>
            <a:lvl3pPr marL="0" indent="0">
              <a:spcBef>
                <a:spcPct val="0"/>
              </a:spcBef>
              <a:spcAft>
                <a:spcPts val="1200"/>
              </a:spcAft>
              <a:buFontTx/>
              <a:buNone/>
              <a:defRPr sz="4600">
                <a:solidFill>
                  <a:schemeClr val="bg1"/>
                </a:solidFill>
                <a:latin typeface="+mj-lt"/>
              </a:defRPr>
            </a:lvl3pPr>
            <a:lvl4pPr marL="0" indent="0">
              <a:spcBef>
                <a:spcPts val="1200"/>
              </a:spcBef>
              <a:buClr>
                <a:schemeClr val="tx2"/>
              </a:buClr>
              <a:buFontTx/>
              <a:buNone/>
              <a:defRPr/>
            </a:lvl4pPr>
            <a:lvl5pPr marL="252000" indent="-252000">
              <a:spcBef>
                <a:spcPts val="1200"/>
              </a:spcBef>
              <a:buClr>
                <a:schemeClr val="tx2"/>
              </a:buClr>
              <a:buFont typeface="Wingdings" pitchFamily="2" charset="2"/>
              <a:buChar char="§"/>
              <a:defRPr sz="1800" b="0">
                <a:solidFill>
                  <a:schemeClr val="tx1"/>
                </a:solidFill>
                <a:latin typeface="+mn-lt"/>
              </a:defRPr>
            </a:lvl5pPr>
            <a:lvl6pPr marL="504000" indent="-252000">
              <a:spcBef>
                <a:spcPts val="600"/>
              </a:spcBef>
              <a:buFont typeface="Symbol" panose="05050102010706020507" pitchFamily="18" charset="2"/>
              <a:buChar char="-"/>
              <a:defRPr sz="1800" b="0" baseline="0">
                <a:solidFill>
                  <a:schemeClr val="tx1"/>
                </a:solidFill>
                <a:latin typeface="+mn-lt"/>
              </a:defRPr>
            </a:lvl6pPr>
            <a:lvl7pPr marL="0" indent="0">
              <a:spcBef>
                <a:spcPts val="1200"/>
              </a:spcBef>
              <a:buFontTx/>
              <a:buNone/>
              <a:defRPr sz="1800">
                <a:solidFill>
                  <a:schemeClr val="tx2"/>
                </a:solidFill>
                <a:latin typeface="+mj-lt"/>
              </a:defRPr>
            </a:lvl7pPr>
            <a:lvl8pPr marL="0" indent="0">
              <a:spcBef>
                <a:spcPts val="1200"/>
              </a:spcBef>
              <a:buFontTx/>
              <a:buNone/>
              <a:defRPr sz="1800">
                <a:solidFill>
                  <a:schemeClr val="accent2"/>
                </a:solidFill>
                <a:latin typeface="+mj-lt"/>
              </a:defRPr>
            </a:lvl8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39221327"/>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15:guide id="5" pos="4158" userDrawn="1">
          <p15:clr>
            <a:srgbClr val="FBAE40"/>
          </p15:clr>
        </p15:guide>
        <p15:guide id="6" pos="3522"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Left Block and Image">
    <p:spTree>
      <p:nvGrpSpPr>
        <p:cNvPr id="1" name=""/>
        <p:cNvGrpSpPr/>
        <p:nvPr/>
      </p:nvGrpSpPr>
      <p:grpSpPr>
        <a:xfrm>
          <a:off x="0" y="0"/>
          <a:ext cx="0" cy="0"/>
          <a:chOff x="0" y="0"/>
          <a:chExt cx="0" cy="0"/>
        </a:xfrm>
      </p:grpSpPr>
      <p:sp>
        <p:nvSpPr>
          <p:cNvPr id="2" name="Light Blue Background Box">
            <a:extLst>
              <a:ext uri="{FF2B5EF4-FFF2-40B4-BE49-F238E27FC236}">
                <a16:creationId xmlns:a16="http://schemas.microsoft.com/office/drawing/2014/main" id="{32688E28-A7F8-F719-86CF-44D80A540EE8}"/>
              </a:ext>
            </a:extLst>
          </p:cNvPr>
          <p:cNvSpPr/>
          <p:nvPr/>
        </p:nvSpPr>
        <p:spPr bwMode="white">
          <a:xfrm>
            <a:off x="6096000" y="0"/>
            <a:ext cx="6096000" cy="6857998"/>
          </a:xfrm>
          <a:prstGeom prst="rect">
            <a:avLst/>
          </a:prstGeom>
          <a:solidFill>
            <a:srgbClr val="EDFCFF"/>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PT" sz="1600">
              <a:solidFill>
                <a:schemeClr val="tx1"/>
              </a:solidFill>
            </a:endParaRPr>
          </a:p>
        </p:txBody>
      </p:sp>
      <p:sp>
        <p:nvSpPr>
          <p:cNvPr id="8" name="Picture Placeholder 7">
            <a:extLst>
              <a:ext uri="{FF2B5EF4-FFF2-40B4-BE49-F238E27FC236}">
                <a16:creationId xmlns:a16="http://schemas.microsoft.com/office/drawing/2014/main" id="{25B97292-EA86-FEC6-A22B-B5948F7131ED}"/>
              </a:ext>
            </a:extLst>
          </p:cNvPr>
          <p:cNvSpPr>
            <a:spLocks noGrp="1"/>
          </p:cNvSpPr>
          <p:nvPr>
            <p:ph type="pic" sz="quarter" idx="19"/>
          </p:nvPr>
        </p:nvSpPr>
        <p:spPr>
          <a:xfrm>
            <a:off x="6096000" y="0"/>
            <a:ext cx="6096000" cy="6857998"/>
          </a:xfrm>
          <a:prstGeom prst="rect">
            <a:avLst/>
          </a:prstGeom>
        </p:spPr>
        <p:txBody>
          <a:bodyPr/>
          <a:lstStyle/>
          <a:p>
            <a:r>
              <a:rPr lang="en-US"/>
              <a:t>Click icon to add picture</a:t>
            </a:r>
            <a:endParaRPr lang="en-GB"/>
          </a:p>
        </p:txBody>
      </p:sp>
      <p:sp>
        <p:nvSpPr>
          <p:cNvPr id="7" name="Title plus Content">
            <a:extLst>
              <a:ext uri="{FF2B5EF4-FFF2-40B4-BE49-F238E27FC236}">
                <a16:creationId xmlns:a16="http://schemas.microsoft.com/office/drawing/2014/main" id="{AB6C8F20-9432-0223-5EEF-ECC8F9BD8FBB}"/>
              </a:ext>
            </a:extLst>
          </p:cNvPr>
          <p:cNvSpPr>
            <a:spLocks noGrp="1"/>
          </p:cNvSpPr>
          <p:nvPr>
            <p:ph type="body" sz="quarter" idx="20"/>
          </p:nvPr>
        </p:nvSpPr>
        <p:spPr>
          <a:xfrm>
            <a:off x="550799" y="2394274"/>
            <a:ext cx="5040000" cy="2116670"/>
          </a:xfrm>
        </p:spPr>
        <p:txBody>
          <a:bodyPr anchor="ctr">
            <a:spAutoFit/>
          </a:bodyPr>
          <a:lstStyle>
            <a:lvl1pPr>
              <a:lnSpc>
                <a:spcPct val="100000"/>
              </a:lnSpc>
              <a:spcBef>
                <a:spcPct val="0"/>
              </a:spcBef>
              <a:spcAft>
                <a:spcPts val="1200"/>
              </a:spcAft>
              <a:defRPr sz="4600">
                <a:solidFill>
                  <a:schemeClr val="tx2"/>
                </a:solidFill>
                <a:latin typeface="+mj-lt"/>
              </a:defRPr>
            </a:lvl1pPr>
            <a:lvl2pPr marL="0" indent="0">
              <a:lnSpc>
                <a:spcPct val="130000"/>
              </a:lnSpc>
              <a:buFontTx/>
              <a:buNone/>
              <a:defRPr/>
            </a:lvl2pPr>
            <a:lvl3pPr marL="0" indent="0">
              <a:spcBef>
                <a:spcPct val="0"/>
              </a:spcBef>
              <a:spcAft>
                <a:spcPts val="1200"/>
              </a:spcAft>
              <a:buFontTx/>
              <a:buNone/>
              <a:defRPr sz="4600">
                <a:solidFill>
                  <a:schemeClr val="bg1"/>
                </a:solidFill>
                <a:latin typeface="+mj-lt"/>
              </a:defRPr>
            </a:lvl3pPr>
            <a:lvl4pPr marL="0" indent="0">
              <a:spcBef>
                <a:spcPts val="1200"/>
              </a:spcBef>
              <a:buClr>
                <a:schemeClr val="tx2"/>
              </a:buClr>
              <a:buFontTx/>
              <a:buNone/>
              <a:defRPr/>
            </a:lvl4pPr>
            <a:lvl5pPr marL="252000" indent="-252000">
              <a:spcBef>
                <a:spcPts val="1200"/>
              </a:spcBef>
              <a:buClr>
                <a:schemeClr val="tx2"/>
              </a:buClr>
              <a:buFont typeface="Wingdings" pitchFamily="2" charset="2"/>
              <a:buChar char="§"/>
              <a:defRPr sz="1800" b="0">
                <a:solidFill>
                  <a:schemeClr val="tx1"/>
                </a:solidFill>
                <a:latin typeface="+mn-lt"/>
              </a:defRPr>
            </a:lvl5pPr>
            <a:lvl6pPr marL="504000" indent="-252000">
              <a:spcBef>
                <a:spcPts val="600"/>
              </a:spcBef>
              <a:buFont typeface="Symbol" panose="05050102010706020507" pitchFamily="18" charset="2"/>
              <a:buChar char="-"/>
              <a:defRPr sz="1800" b="0" baseline="0">
                <a:solidFill>
                  <a:schemeClr val="tx1"/>
                </a:solidFill>
                <a:latin typeface="+mn-lt"/>
              </a:defRPr>
            </a:lvl6pPr>
            <a:lvl7pPr marL="0" indent="0">
              <a:spcBef>
                <a:spcPts val="1200"/>
              </a:spcBef>
              <a:buFontTx/>
              <a:buNone/>
              <a:defRPr sz="1800">
                <a:solidFill>
                  <a:schemeClr val="tx2"/>
                </a:solidFill>
                <a:latin typeface="+mj-lt"/>
              </a:defRPr>
            </a:lvl7pPr>
            <a:lvl8pPr marL="0" indent="0">
              <a:spcBef>
                <a:spcPts val="1200"/>
              </a:spcBef>
              <a:buFontTx/>
              <a:buNone/>
              <a:defRPr sz="1800">
                <a:solidFill>
                  <a:schemeClr val="accent2"/>
                </a:solidFill>
                <a:latin typeface="+mj-lt"/>
              </a:defRPr>
            </a:lvl8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53278772"/>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15:guide id="5" pos="4158" userDrawn="1">
          <p15:clr>
            <a:srgbClr val="FBAE40"/>
          </p15:clr>
        </p15:guide>
        <p15:guide id="6" pos="3522"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Right Block and Image">
    <p:spTree>
      <p:nvGrpSpPr>
        <p:cNvPr id="1" name=""/>
        <p:cNvGrpSpPr/>
        <p:nvPr/>
      </p:nvGrpSpPr>
      <p:grpSpPr>
        <a:xfrm>
          <a:off x="0" y="0"/>
          <a:ext cx="0" cy="0"/>
          <a:chOff x="0" y="0"/>
          <a:chExt cx="0" cy="0"/>
        </a:xfrm>
      </p:grpSpPr>
      <p:sp>
        <p:nvSpPr>
          <p:cNvPr id="7" name="Light BLue Background Box">
            <a:extLst>
              <a:ext uri="{FF2B5EF4-FFF2-40B4-BE49-F238E27FC236}">
                <a16:creationId xmlns:a16="http://schemas.microsoft.com/office/drawing/2014/main" id="{62DAFB2D-A6FA-E0E3-2171-2DD3336F39B2}"/>
              </a:ext>
            </a:extLst>
          </p:cNvPr>
          <p:cNvSpPr/>
          <p:nvPr userDrawn="1"/>
        </p:nvSpPr>
        <p:spPr bwMode="white">
          <a:xfrm>
            <a:off x="0" y="-1"/>
            <a:ext cx="6096000" cy="6857998"/>
          </a:xfrm>
          <a:prstGeom prst="rect">
            <a:avLst/>
          </a:prstGeom>
          <a:solidFill>
            <a:srgbClr val="EDFCFF"/>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PT" sz="1600">
              <a:solidFill>
                <a:schemeClr val="tx1"/>
              </a:solidFill>
            </a:endParaRPr>
          </a:p>
        </p:txBody>
      </p:sp>
      <p:sp>
        <p:nvSpPr>
          <p:cNvPr id="8" name="Picture Placeholder 7">
            <a:extLst>
              <a:ext uri="{FF2B5EF4-FFF2-40B4-BE49-F238E27FC236}">
                <a16:creationId xmlns:a16="http://schemas.microsoft.com/office/drawing/2014/main" id="{AB9D1692-EEFD-88EA-AC78-9DA3A4D838A4}"/>
              </a:ext>
            </a:extLst>
          </p:cNvPr>
          <p:cNvSpPr>
            <a:spLocks noGrp="1"/>
          </p:cNvSpPr>
          <p:nvPr>
            <p:ph type="pic" sz="quarter" idx="19"/>
          </p:nvPr>
        </p:nvSpPr>
        <p:spPr>
          <a:xfrm>
            <a:off x="0" y="0"/>
            <a:ext cx="6096000" cy="6857998"/>
          </a:xfrm>
          <a:prstGeom prst="rect">
            <a:avLst/>
          </a:prstGeom>
        </p:spPr>
        <p:txBody>
          <a:bodyPr/>
          <a:lstStyle/>
          <a:p>
            <a:r>
              <a:rPr lang="en-US"/>
              <a:t>Click icon to add picture</a:t>
            </a:r>
            <a:endParaRPr lang="en-GB"/>
          </a:p>
        </p:txBody>
      </p:sp>
      <p:sp>
        <p:nvSpPr>
          <p:cNvPr id="6" name="Title plus Content">
            <a:extLst>
              <a:ext uri="{FF2B5EF4-FFF2-40B4-BE49-F238E27FC236}">
                <a16:creationId xmlns:a16="http://schemas.microsoft.com/office/drawing/2014/main" id="{C3FF2256-8276-CD87-E590-0FA57F8D987D}"/>
              </a:ext>
            </a:extLst>
          </p:cNvPr>
          <p:cNvSpPr>
            <a:spLocks noGrp="1"/>
          </p:cNvSpPr>
          <p:nvPr>
            <p:ph type="body" sz="quarter" idx="20"/>
          </p:nvPr>
        </p:nvSpPr>
        <p:spPr>
          <a:xfrm>
            <a:off x="6588000" y="2429670"/>
            <a:ext cx="5040000" cy="2045881"/>
          </a:xfrm>
        </p:spPr>
        <p:txBody>
          <a:bodyPr anchor="ctr">
            <a:spAutoFit/>
          </a:bodyPr>
          <a:lstStyle>
            <a:lvl1pPr>
              <a:lnSpc>
                <a:spcPct val="100000"/>
              </a:lnSpc>
              <a:spcBef>
                <a:spcPct val="0"/>
              </a:spcBef>
              <a:spcAft>
                <a:spcPts val="1200"/>
              </a:spcAft>
              <a:defRPr sz="4600">
                <a:solidFill>
                  <a:schemeClr val="tx2"/>
                </a:solidFill>
                <a:latin typeface="+mj-lt"/>
              </a:defRPr>
            </a:lvl1pPr>
            <a:lvl2pPr marL="0" indent="0">
              <a:lnSpc>
                <a:spcPct val="130000"/>
              </a:lnSpc>
              <a:buFontTx/>
              <a:buNone/>
              <a:defRPr/>
            </a:lvl2pPr>
            <a:lvl3pPr marL="0" indent="0">
              <a:spcBef>
                <a:spcPct val="0"/>
              </a:spcBef>
              <a:spcAft>
                <a:spcPts val="1200"/>
              </a:spcAft>
              <a:buFontTx/>
              <a:buNone/>
              <a:defRPr sz="4600">
                <a:solidFill>
                  <a:schemeClr val="bg1"/>
                </a:solidFill>
                <a:latin typeface="+mj-lt"/>
              </a:defRPr>
            </a:lvl3pPr>
            <a:lvl4pPr marL="0" indent="0">
              <a:spcBef>
                <a:spcPts val="1200"/>
              </a:spcBef>
              <a:buClr>
                <a:schemeClr val="tx2"/>
              </a:buClr>
              <a:buFontTx/>
              <a:buNone/>
              <a:defRPr/>
            </a:lvl4pPr>
            <a:lvl5pPr marL="252000" indent="-252000">
              <a:spcBef>
                <a:spcPts val="1200"/>
              </a:spcBef>
              <a:buClr>
                <a:schemeClr val="tx2"/>
              </a:buClr>
              <a:buFont typeface="Wingdings" pitchFamily="2" charset="2"/>
              <a:buChar char="§"/>
              <a:defRPr sz="1800" b="0">
                <a:solidFill>
                  <a:schemeClr val="tx1"/>
                </a:solidFill>
                <a:latin typeface="+mn-lt"/>
              </a:defRPr>
            </a:lvl5pPr>
            <a:lvl6pPr marL="504000" indent="-252000">
              <a:spcBef>
                <a:spcPts val="600"/>
              </a:spcBef>
              <a:buFont typeface="Symbol" panose="05050102010706020507" pitchFamily="18" charset="2"/>
              <a:buChar char="-"/>
              <a:defRPr sz="1800" b="0" baseline="0">
                <a:solidFill>
                  <a:schemeClr val="tx1"/>
                </a:solidFill>
                <a:latin typeface="+mn-lt"/>
              </a:defRPr>
            </a:lvl6pPr>
            <a:lvl7pPr marL="0" indent="0">
              <a:spcBef>
                <a:spcPts val="1200"/>
              </a:spcBef>
              <a:buFontTx/>
              <a:buNone/>
              <a:defRPr sz="1800">
                <a:solidFill>
                  <a:schemeClr val="tx2"/>
                </a:solidFill>
                <a:latin typeface="+mj-lt"/>
              </a:defRPr>
            </a:lvl7pPr>
            <a:lvl8pPr marL="0" indent="0">
              <a:spcBef>
                <a:spcPts val="1200"/>
              </a:spcBef>
              <a:buFontTx/>
              <a:buNone/>
              <a:defRPr sz="1800">
                <a:solidFill>
                  <a:schemeClr val="accent2"/>
                </a:solidFill>
                <a:latin typeface="+mj-lt"/>
              </a:defRPr>
            </a:lvl8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34891697"/>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15:guide id="5" pos="4158" userDrawn="1">
          <p15:clr>
            <a:srgbClr val="FBAE40"/>
          </p15:clr>
        </p15:guide>
        <p15:guide id="6" pos="3522"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Right Block, Centre Image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4884C31-EC1F-A70F-FF1B-C8B871034672}"/>
              </a:ext>
            </a:extLst>
          </p:cNvPr>
          <p:cNvSpPr>
            <a:spLocks noGrp="1"/>
          </p:cNvSpPr>
          <p:nvPr>
            <p:ph type="pic" sz="quarter" idx="19"/>
          </p:nvPr>
        </p:nvSpPr>
        <p:spPr>
          <a:xfrm>
            <a:off x="0" y="0"/>
            <a:ext cx="12192000" cy="6858000"/>
          </a:xfrm>
          <a:prstGeom prst="rect">
            <a:avLst/>
          </a:prstGeom>
          <a:solidFill>
            <a:srgbClr val="EDFCFF"/>
          </a:solidFill>
        </p:spPr>
        <p:txBody>
          <a:bodyPr/>
          <a:lstStyle/>
          <a:p>
            <a:r>
              <a:rPr lang="en-US"/>
              <a:t>Click icon to add picture</a:t>
            </a:r>
          </a:p>
        </p:txBody>
      </p:sp>
      <p:sp>
        <p:nvSpPr>
          <p:cNvPr id="8" name="Content">
            <a:extLst>
              <a:ext uri="{FF2B5EF4-FFF2-40B4-BE49-F238E27FC236}">
                <a16:creationId xmlns:a16="http://schemas.microsoft.com/office/drawing/2014/main" id="{3D200662-34CE-CF6E-6DAA-5C1324553BB3}"/>
              </a:ext>
            </a:extLst>
          </p:cNvPr>
          <p:cNvSpPr>
            <a:spLocks noGrp="1"/>
          </p:cNvSpPr>
          <p:nvPr>
            <p:ph sz="quarter" idx="21"/>
          </p:nvPr>
        </p:nvSpPr>
        <p:spPr>
          <a:xfrm>
            <a:off x="550800" y="855000"/>
            <a:ext cx="5040000" cy="514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Title plus Content">
            <a:extLst>
              <a:ext uri="{FF2B5EF4-FFF2-40B4-BE49-F238E27FC236}">
                <a16:creationId xmlns:a16="http://schemas.microsoft.com/office/drawing/2014/main" id="{233A3AAD-F3AF-F8C3-E336-494A20B9CF16}"/>
              </a:ext>
            </a:extLst>
          </p:cNvPr>
          <p:cNvSpPr>
            <a:spLocks noGrp="1"/>
          </p:cNvSpPr>
          <p:nvPr>
            <p:ph type="body" sz="quarter" idx="20"/>
          </p:nvPr>
        </p:nvSpPr>
        <p:spPr>
          <a:xfrm>
            <a:off x="6588000" y="2429678"/>
            <a:ext cx="5040000" cy="2045881"/>
          </a:xfrm>
        </p:spPr>
        <p:txBody>
          <a:bodyPr anchor="ctr">
            <a:spAutoFit/>
          </a:bodyPr>
          <a:lstStyle>
            <a:lvl1pPr>
              <a:lnSpc>
                <a:spcPct val="100000"/>
              </a:lnSpc>
              <a:spcBef>
                <a:spcPct val="0"/>
              </a:spcBef>
              <a:spcAft>
                <a:spcPts val="1200"/>
              </a:spcAft>
              <a:defRPr sz="4600">
                <a:solidFill>
                  <a:schemeClr val="bg1"/>
                </a:solidFill>
                <a:latin typeface="+mj-lt"/>
              </a:defRPr>
            </a:lvl1pPr>
            <a:lvl2pPr marL="0" indent="0">
              <a:lnSpc>
                <a:spcPct val="130000"/>
              </a:lnSpc>
              <a:buFontTx/>
              <a:buNone/>
              <a:defRPr>
                <a:solidFill>
                  <a:schemeClr val="bg1"/>
                </a:solidFill>
              </a:defRPr>
            </a:lvl2pPr>
            <a:lvl3pPr marL="0" indent="0">
              <a:spcBef>
                <a:spcPct val="0"/>
              </a:spcBef>
              <a:spcAft>
                <a:spcPts val="1200"/>
              </a:spcAft>
              <a:buFontTx/>
              <a:buNone/>
              <a:defRPr sz="4600">
                <a:solidFill>
                  <a:schemeClr val="accent1"/>
                </a:solidFill>
                <a:latin typeface="+mj-lt"/>
              </a:defRPr>
            </a:lvl3pPr>
            <a:lvl4pPr marL="0" indent="0">
              <a:spcBef>
                <a:spcPts val="1200"/>
              </a:spcBef>
              <a:buClr>
                <a:schemeClr val="tx2"/>
              </a:buClr>
              <a:buFontTx/>
              <a:buNone/>
              <a:defRPr>
                <a:solidFill>
                  <a:schemeClr val="tx1"/>
                </a:solidFill>
              </a:defRPr>
            </a:lvl4pPr>
            <a:lvl5pPr marL="252000" indent="-252000">
              <a:spcBef>
                <a:spcPts val="1200"/>
              </a:spcBef>
              <a:buClr>
                <a:schemeClr val="bg1"/>
              </a:buClr>
              <a:buFont typeface="Wingdings" pitchFamily="2" charset="2"/>
              <a:buChar char="§"/>
              <a:defRPr sz="1800" b="0">
                <a:solidFill>
                  <a:schemeClr val="bg1"/>
                </a:solidFill>
                <a:latin typeface="+mn-lt"/>
              </a:defRPr>
            </a:lvl5pPr>
            <a:lvl6pPr marL="504000" indent="-252000">
              <a:spcBef>
                <a:spcPts val="600"/>
              </a:spcBef>
              <a:buFont typeface="Symbol" panose="05050102010706020507" pitchFamily="18" charset="2"/>
              <a:buChar char="-"/>
              <a:defRPr sz="1800" b="0" baseline="0">
                <a:solidFill>
                  <a:schemeClr val="bg1"/>
                </a:solidFill>
                <a:latin typeface="+mn-lt"/>
              </a:defRPr>
            </a:lvl6pPr>
            <a:lvl7pPr marL="0" indent="0">
              <a:spcBef>
                <a:spcPts val="1200"/>
              </a:spcBef>
              <a:buFontTx/>
              <a:buNone/>
              <a:defRPr sz="1800">
                <a:solidFill>
                  <a:schemeClr val="bg1"/>
                </a:solidFill>
                <a:latin typeface="+mj-lt"/>
              </a:defRPr>
            </a:lvl7pPr>
            <a:lvl8pPr marL="0" indent="0">
              <a:spcBef>
                <a:spcPts val="1200"/>
              </a:spcBef>
              <a:buFontTx/>
              <a:buNone/>
              <a:defRPr sz="4600">
                <a:solidFill>
                  <a:schemeClr val="accent2"/>
                </a:solidFill>
                <a:latin typeface="+mj-lt"/>
              </a:defRPr>
            </a:lvl8pPr>
            <a:lvl9pPr>
              <a:defRPr>
                <a:solidFill>
                  <a:schemeClr val="bg1"/>
                </a:solidFill>
                <a:latin typeface="+mj-lt"/>
              </a:defRPr>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17294392"/>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15:guide id="5" pos="4158" userDrawn="1">
          <p15:clr>
            <a:srgbClr val="FBAE40"/>
          </p15:clr>
        </p15:guide>
        <p15:guide id="6" pos="3522"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eft Block, Centre Image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4884C31-EC1F-A70F-FF1B-C8B871034672}"/>
              </a:ext>
            </a:extLst>
          </p:cNvPr>
          <p:cNvSpPr>
            <a:spLocks noGrp="1"/>
          </p:cNvSpPr>
          <p:nvPr>
            <p:ph type="pic" sz="quarter" idx="19"/>
          </p:nvPr>
        </p:nvSpPr>
        <p:spPr>
          <a:xfrm>
            <a:off x="0" y="0"/>
            <a:ext cx="12192000" cy="6858000"/>
          </a:xfrm>
          <a:prstGeom prst="rect">
            <a:avLst/>
          </a:prstGeom>
          <a:solidFill>
            <a:srgbClr val="EDFCFF"/>
          </a:solidFill>
        </p:spPr>
        <p:txBody>
          <a:bodyPr/>
          <a:lstStyle/>
          <a:p>
            <a:r>
              <a:rPr lang="en-US"/>
              <a:t>Click icon to add picture</a:t>
            </a:r>
          </a:p>
        </p:txBody>
      </p:sp>
      <p:sp>
        <p:nvSpPr>
          <p:cNvPr id="8" name="Content">
            <a:extLst>
              <a:ext uri="{FF2B5EF4-FFF2-40B4-BE49-F238E27FC236}">
                <a16:creationId xmlns:a16="http://schemas.microsoft.com/office/drawing/2014/main" id="{87DC4C0B-4914-F9BB-BD66-CA2329654CBC}"/>
              </a:ext>
            </a:extLst>
          </p:cNvPr>
          <p:cNvSpPr>
            <a:spLocks noGrp="1"/>
          </p:cNvSpPr>
          <p:nvPr>
            <p:ph sz="quarter" idx="21"/>
          </p:nvPr>
        </p:nvSpPr>
        <p:spPr>
          <a:xfrm>
            <a:off x="6588000" y="855000"/>
            <a:ext cx="5040000" cy="514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lus Content">
            <a:extLst>
              <a:ext uri="{FF2B5EF4-FFF2-40B4-BE49-F238E27FC236}">
                <a16:creationId xmlns:a16="http://schemas.microsoft.com/office/drawing/2014/main" id="{430A964F-5F10-6427-5339-C3BF17997CB8}"/>
              </a:ext>
            </a:extLst>
          </p:cNvPr>
          <p:cNvSpPr>
            <a:spLocks noGrp="1"/>
          </p:cNvSpPr>
          <p:nvPr>
            <p:ph type="body" sz="quarter" idx="20"/>
          </p:nvPr>
        </p:nvSpPr>
        <p:spPr>
          <a:xfrm>
            <a:off x="550800" y="2429678"/>
            <a:ext cx="5040000" cy="2045881"/>
          </a:xfrm>
        </p:spPr>
        <p:txBody>
          <a:bodyPr anchor="ctr">
            <a:spAutoFit/>
          </a:bodyPr>
          <a:lstStyle>
            <a:lvl1pPr>
              <a:lnSpc>
                <a:spcPct val="100000"/>
              </a:lnSpc>
              <a:spcBef>
                <a:spcPct val="0"/>
              </a:spcBef>
              <a:spcAft>
                <a:spcPts val="1200"/>
              </a:spcAft>
              <a:defRPr sz="4600">
                <a:solidFill>
                  <a:schemeClr val="bg1"/>
                </a:solidFill>
                <a:latin typeface="+mj-lt"/>
              </a:defRPr>
            </a:lvl1pPr>
            <a:lvl2pPr marL="0" indent="0">
              <a:lnSpc>
                <a:spcPct val="130000"/>
              </a:lnSpc>
              <a:buFontTx/>
              <a:buNone/>
              <a:defRPr>
                <a:solidFill>
                  <a:schemeClr val="bg1"/>
                </a:solidFill>
              </a:defRPr>
            </a:lvl2pPr>
            <a:lvl3pPr marL="0" indent="0">
              <a:spcBef>
                <a:spcPct val="0"/>
              </a:spcBef>
              <a:spcAft>
                <a:spcPts val="1200"/>
              </a:spcAft>
              <a:buFontTx/>
              <a:buNone/>
              <a:defRPr sz="4600">
                <a:solidFill>
                  <a:schemeClr val="accent1"/>
                </a:solidFill>
                <a:latin typeface="+mj-lt"/>
              </a:defRPr>
            </a:lvl3pPr>
            <a:lvl4pPr marL="0" indent="0">
              <a:spcBef>
                <a:spcPts val="1200"/>
              </a:spcBef>
              <a:buClr>
                <a:schemeClr val="tx2"/>
              </a:buClr>
              <a:buFontTx/>
              <a:buNone/>
              <a:defRPr>
                <a:solidFill>
                  <a:schemeClr val="tx1"/>
                </a:solidFill>
              </a:defRPr>
            </a:lvl4pPr>
            <a:lvl5pPr marL="252000" indent="-252000">
              <a:spcBef>
                <a:spcPts val="1200"/>
              </a:spcBef>
              <a:buClr>
                <a:schemeClr val="bg1"/>
              </a:buClr>
              <a:buFont typeface="Wingdings" pitchFamily="2" charset="2"/>
              <a:buChar char="§"/>
              <a:defRPr sz="1800" b="0">
                <a:solidFill>
                  <a:schemeClr val="bg1"/>
                </a:solidFill>
                <a:latin typeface="+mn-lt"/>
              </a:defRPr>
            </a:lvl5pPr>
            <a:lvl6pPr marL="504000" indent="-252000">
              <a:spcBef>
                <a:spcPts val="600"/>
              </a:spcBef>
              <a:buFont typeface="Symbol" panose="05050102010706020507" pitchFamily="18" charset="2"/>
              <a:buChar char="-"/>
              <a:defRPr sz="1800" b="0" baseline="0">
                <a:solidFill>
                  <a:schemeClr val="bg1"/>
                </a:solidFill>
                <a:latin typeface="+mn-lt"/>
              </a:defRPr>
            </a:lvl6pPr>
            <a:lvl7pPr marL="0" indent="0">
              <a:spcBef>
                <a:spcPts val="1200"/>
              </a:spcBef>
              <a:buFontTx/>
              <a:buNone/>
              <a:defRPr sz="1800">
                <a:solidFill>
                  <a:schemeClr val="bg1"/>
                </a:solidFill>
                <a:latin typeface="+mj-lt"/>
              </a:defRPr>
            </a:lvl7pPr>
            <a:lvl8pPr marL="0" indent="0">
              <a:spcBef>
                <a:spcPts val="1200"/>
              </a:spcBef>
              <a:buFontTx/>
              <a:buNone/>
              <a:defRPr sz="4600">
                <a:solidFill>
                  <a:schemeClr val="accent2"/>
                </a:solidFill>
                <a:latin typeface="+mj-lt"/>
              </a:defRPr>
            </a:lvl8pPr>
            <a:lvl9pPr>
              <a:defRPr>
                <a:solidFill>
                  <a:schemeClr val="bg1"/>
                </a:solidFill>
                <a:latin typeface="+mj-lt"/>
              </a:defRPr>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5007428"/>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15:guide id="5" pos="4158" userDrawn="1">
          <p15:clr>
            <a:srgbClr val="FBAE40"/>
          </p15:clr>
        </p15:guide>
        <p15:guide id="6" pos="3522"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ide Title and Content with Swoosh">
    <p:spTree>
      <p:nvGrpSpPr>
        <p:cNvPr id="1" name=""/>
        <p:cNvGrpSpPr/>
        <p:nvPr/>
      </p:nvGrpSpPr>
      <p:grpSpPr>
        <a:xfrm>
          <a:off x="0" y="0"/>
          <a:ext cx="0" cy="0"/>
          <a:chOff x="0" y="0"/>
          <a:chExt cx="0" cy="0"/>
        </a:xfrm>
      </p:grpSpPr>
      <p:sp>
        <p:nvSpPr>
          <p:cNvPr id="11" name="Squiggle">
            <a:extLst>
              <a:ext uri="{FF2B5EF4-FFF2-40B4-BE49-F238E27FC236}">
                <a16:creationId xmlns:a16="http://schemas.microsoft.com/office/drawing/2014/main" id="{00171972-DAD9-4461-D642-9E70587F1676}"/>
              </a:ext>
            </a:extLst>
          </p:cNvPr>
          <p:cNvSpPr/>
          <p:nvPr/>
        </p:nvSpPr>
        <p:spPr>
          <a:xfrm rot="440875">
            <a:off x="-195795" y="260446"/>
            <a:ext cx="12711259" cy="7374027"/>
          </a:xfrm>
          <a:custGeom>
            <a:avLst/>
            <a:gdLst>
              <a:gd name="connsiteX0" fmla="*/ 9701292 w 12711259"/>
              <a:gd name="connsiteY0" fmla="*/ 4999293 h 7374027"/>
              <a:gd name="connsiteX1" fmla="*/ 10349337 w 12711259"/>
              <a:gd name="connsiteY1" fmla="*/ 5865741 h 7374027"/>
              <a:gd name="connsiteX2" fmla="*/ 10354937 w 12711259"/>
              <a:gd name="connsiteY2" fmla="*/ 6113237 h 7374027"/>
              <a:gd name="connsiteX3" fmla="*/ 7871504 w 12711259"/>
              <a:gd name="connsiteY3" fmla="*/ 6434879 h 7374027"/>
              <a:gd name="connsiteX4" fmla="*/ 8130301 w 12711259"/>
              <a:gd name="connsiteY4" fmla="*/ 6165073 h 7374027"/>
              <a:gd name="connsiteX5" fmla="*/ 8586391 w 12711259"/>
              <a:gd name="connsiteY5" fmla="*/ 5725947 h 7374027"/>
              <a:gd name="connsiteX6" fmla="*/ 8542688 w 12711259"/>
              <a:gd name="connsiteY6" fmla="*/ 5767387 h 7374027"/>
              <a:gd name="connsiteX7" fmla="*/ 9701292 w 12711259"/>
              <a:gd name="connsiteY7" fmla="*/ 4999293 h 7374027"/>
              <a:gd name="connsiteX8" fmla="*/ 12556234 w 12711259"/>
              <a:gd name="connsiteY8" fmla="*/ 4605882 h 7374027"/>
              <a:gd name="connsiteX9" fmla="*/ 12711259 w 12711259"/>
              <a:gd name="connsiteY9" fmla="*/ 5808059 h 7374027"/>
              <a:gd name="connsiteX10" fmla="*/ 10948599 w 12711259"/>
              <a:gd name="connsiteY10" fmla="*/ 6036348 h 7374027"/>
              <a:gd name="connsiteX11" fmla="*/ 10995446 w 12711259"/>
              <a:gd name="connsiteY11" fmla="*/ 5971853 h 7374027"/>
              <a:gd name="connsiteX12" fmla="*/ 12509398 w 12711259"/>
              <a:gd name="connsiteY12" fmla="*/ 4619614 h 7374027"/>
              <a:gd name="connsiteX13" fmla="*/ 4089853 w 12711259"/>
              <a:gd name="connsiteY13" fmla="*/ 0 h 7374027"/>
              <a:gd name="connsiteX14" fmla="*/ 4032572 w 12711259"/>
              <a:gd name="connsiteY14" fmla="*/ 208780 h 7374027"/>
              <a:gd name="connsiteX15" fmla="*/ 3110385 w 12711259"/>
              <a:gd name="connsiteY15" fmla="*/ 5050887 h 7374027"/>
              <a:gd name="connsiteX16" fmla="*/ 5214964 w 12711259"/>
              <a:gd name="connsiteY16" fmla="*/ 6484237 h 7374027"/>
              <a:gd name="connsiteX17" fmla="*/ 5130975 w 12711259"/>
              <a:gd name="connsiteY17" fmla="*/ 6789819 h 7374027"/>
              <a:gd name="connsiteX18" fmla="*/ 620243 w 12711259"/>
              <a:gd name="connsiteY18" fmla="*/ 7374027 h 7374027"/>
              <a:gd name="connsiteX19" fmla="*/ 595618 w 12711259"/>
              <a:gd name="connsiteY19" fmla="*/ 7183063 h 7374027"/>
              <a:gd name="connsiteX20" fmla="*/ 643367 w 12711259"/>
              <a:gd name="connsiteY20" fmla="*/ 6815536 h 7374027"/>
              <a:gd name="connsiteX21" fmla="*/ 1874812 w 12711259"/>
              <a:gd name="connsiteY21" fmla="*/ 1239581 h 7374027"/>
              <a:gd name="connsiteX22" fmla="*/ 592446 w 12711259"/>
              <a:gd name="connsiteY22" fmla="*/ 3773236 h 7374027"/>
              <a:gd name="connsiteX23" fmla="*/ 252389 w 12711259"/>
              <a:gd name="connsiteY23" fmla="*/ 4521405 h 7374027"/>
              <a:gd name="connsiteX24" fmla="*/ 0 w 12711259"/>
              <a:gd name="connsiteY24" fmla="*/ 2564185 h 7374027"/>
              <a:gd name="connsiteX25" fmla="*/ 286966 w 12711259"/>
              <a:gd name="connsiteY25" fmla="*/ 2061285 h 7374027"/>
              <a:gd name="connsiteX26" fmla="*/ 1294415 w 12711259"/>
              <a:gd name="connsiteY26" fmla="*/ 424798 h 7374027"/>
              <a:gd name="connsiteX27" fmla="*/ 1340058 w 12711259"/>
              <a:gd name="connsiteY27" fmla="*/ 356138 h 7374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711259" h="7374026">
                <a:moveTo>
                  <a:pt x="9701292" y="4999293"/>
                </a:moveTo>
                <a:cubicBezTo>
                  <a:pt x="10102115" y="4956977"/>
                  <a:pt x="10311719" y="5310803"/>
                  <a:pt x="10349337" y="5865741"/>
                </a:cubicBezTo>
                <a:lnTo>
                  <a:pt x="10354937" y="6113237"/>
                </a:lnTo>
                <a:lnTo>
                  <a:pt x="7871504" y="6434879"/>
                </a:lnTo>
                <a:lnTo>
                  <a:pt x="8130301" y="6165073"/>
                </a:lnTo>
                <a:cubicBezTo>
                  <a:pt x="8279037" y="6015936"/>
                  <a:pt x="8431002" y="5869496"/>
                  <a:pt x="8586391" y="5725947"/>
                </a:cubicBezTo>
                <a:lnTo>
                  <a:pt x="8542688" y="5767387"/>
                </a:lnTo>
                <a:cubicBezTo>
                  <a:pt x="9031123" y="5261858"/>
                  <a:pt x="9414988" y="5029518"/>
                  <a:pt x="9701292" y="4999293"/>
                </a:cubicBezTo>
                <a:close/>
                <a:moveTo>
                  <a:pt x="12556234" y="4605882"/>
                </a:moveTo>
                <a:lnTo>
                  <a:pt x="12711259" y="5808059"/>
                </a:lnTo>
                <a:lnTo>
                  <a:pt x="10948599" y="6036348"/>
                </a:lnTo>
                <a:lnTo>
                  <a:pt x="10995446" y="5971853"/>
                </a:lnTo>
                <a:cubicBezTo>
                  <a:pt x="11423632" y="5393813"/>
                  <a:pt x="11894510" y="4843458"/>
                  <a:pt x="12509398" y="4619614"/>
                </a:cubicBezTo>
                <a:close/>
                <a:moveTo>
                  <a:pt x="4089853" y="0"/>
                </a:moveTo>
                <a:lnTo>
                  <a:pt x="4032572" y="208780"/>
                </a:lnTo>
                <a:cubicBezTo>
                  <a:pt x="3477322" y="2228129"/>
                  <a:pt x="2859788" y="4443395"/>
                  <a:pt x="3110385" y="5050887"/>
                </a:cubicBezTo>
                <a:cubicBezTo>
                  <a:pt x="6202762" y="1120562"/>
                  <a:pt x="6073909" y="3270086"/>
                  <a:pt x="5214964" y="6484237"/>
                </a:cubicBezTo>
                <a:lnTo>
                  <a:pt x="5130975" y="6789819"/>
                </a:lnTo>
                <a:lnTo>
                  <a:pt x="620243" y="7374027"/>
                </a:lnTo>
                <a:lnTo>
                  <a:pt x="595618" y="7183063"/>
                </a:lnTo>
                <a:lnTo>
                  <a:pt x="643367" y="6815536"/>
                </a:lnTo>
                <a:cubicBezTo>
                  <a:pt x="932082" y="4762876"/>
                  <a:pt x="1606054" y="2200633"/>
                  <a:pt x="1874812" y="1239581"/>
                </a:cubicBezTo>
                <a:cubicBezTo>
                  <a:pt x="1415408" y="2068758"/>
                  <a:pt x="993356" y="2915911"/>
                  <a:pt x="592446" y="3773236"/>
                </a:cubicBezTo>
                <a:lnTo>
                  <a:pt x="252389" y="4521405"/>
                </a:lnTo>
                <a:lnTo>
                  <a:pt x="0" y="2564185"/>
                </a:lnTo>
                <a:lnTo>
                  <a:pt x="286966" y="2061285"/>
                </a:lnTo>
                <a:cubicBezTo>
                  <a:pt x="616643" y="1494520"/>
                  <a:pt x="955203" y="944905"/>
                  <a:pt x="1294415" y="424798"/>
                </a:cubicBezTo>
                <a:lnTo>
                  <a:pt x="1340058" y="356138"/>
                </a:lnTo>
                <a:close/>
              </a:path>
            </a:pathLst>
          </a:custGeom>
          <a:gradFill>
            <a:gsLst>
              <a:gs pos="0">
                <a:srgbClr val="E3E3E3"/>
              </a:gs>
              <a:gs pos="50000">
                <a:srgbClr val="E5E5E5"/>
              </a:gs>
              <a:gs pos="75000">
                <a:srgbClr val="ECECEC"/>
              </a:gs>
              <a:gs pos="95000">
                <a:srgbClr val="FAFAFA"/>
              </a:gs>
              <a:gs pos="100000">
                <a:srgbClr val="FFFFFF"/>
              </a:gs>
            </a:gsLst>
            <a:lin ang="13500000" scaled="1"/>
          </a:gradFill>
          <a:ln w="11792" cap="flat">
            <a:noFill/>
            <a:prstDash val="solid"/>
            <a:miter/>
          </a:ln>
        </p:spPr>
        <p:txBody>
          <a:bodyPr wrap="square" rtlCol="0" anchor="ctr">
            <a:noAutofit/>
          </a:bodyPr>
          <a:lstStyle/>
          <a:p>
            <a:endParaRPr lang="en-US"/>
          </a:p>
        </p:txBody>
      </p:sp>
      <p:sp>
        <p:nvSpPr>
          <p:cNvPr id="3" name="Page Number">
            <a:extLst>
              <a:ext uri="{FF2B5EF4-FFF2-40B4-BE49-F238E27FC236}">
                <a16:creationId xmlns:a16="http://schemas.microsoft.com/office/drawing/2014/main" id="{34F5AC4A-6FD4-AE1B-DE83-4DA75E86F5DC}"/>
              </a:ext>
            </a:extLst>
          </p:cNvPr>
          <p:cNvSpPr txBox="1"/>
          <p:nvPr/>
        </p:nvSpPr>
        <p:spPr>
          <a:xfrm>
            <a:off x="11233601" y="6525344"/>
            <a:ext cx="406400" cy="141577"/>
          </a:xfrm>
          <a:prstGeom prst="rect">
            <a:avLst/>
          </a:prstGeom>
          <a:noFill/>
        </p:spPr>
        <p:txBody>
          <a:bodyPr vert="horz" wrap="square" lIns="0" tIns="0" rIns="0" bIns="0" rtlCol="0">
            <a:noAutofit/>
          </a:bodyPr>
          <a:lstStyle/>
          <a:p>
            <a:pPr algn="r">
              <a:lnSpc>
                <a:spcPct val="100000"/>
              </a:lnSpc>
              <a:spcAft>
                <a:spcPct val="0"/>
              </a:spcAft>
            </a:pPr>
            <a:fld id="{28EFE765-FF9D-4A30-9EA2-0EADEF4E4456}" type="slidenum">
              <a:rPr lang="en-GB" sz="900" kern="1200" baseline="0">
                <a:solidFill>
                  <a:schemeClr val="tx1"/>
                </a:solidFill>
                <a:latin typeface="+mn-lt"/>
                <a:ea typeface="+mn-ea"/>
                <a:cs typeface="+mn-cs"/>
              </a:rPr>
              <a:pPr algn="r">
                <a:lnSpc>
                  <a:spcPct val="100000"/>
                </a:lnSpc>
                <a:spcAft>
                  <a:spcPct val="0"/>
                </a:spcAft>
              </a:pPr>
              <a:t>‹#›</a:t>
            </a:fld>
            <a:endParaRPr lang="en-GB" sz="900" kern="1200" baseline="0">
              <a:solidFill>
                <a:schemeClr val="tx1"/>
              </a:solidFill>
              <a:latin typeface="+mn-lt"/>
              <a:ea typeface="+mn-ea"/>
              <a:cs typeface="+mn-cs"/>
            </a:endParaRPr>
          </a:p>
        </p:txBody>
      </p:sp>
      <p:sp>
        <p:nvSpPr>
          <p:cNvPr id="9" name="Content">
            <a:extLst>
              <a:ext uri="{FF2B5EF4-FFF2-40B4-BE49-F238E27FC236}">
                <a16:creationId xmlns:a16="http://schemas.microsoft.com/office/drawing/2014/main" id="{81404B19-3C29-F557-1857-9D5B937FCD7A}"/>
              </a:ext>
            </a:extLst>
          </p:cNvPr>
          <p:cNvSpPr>
            <a:spLocks noGrp="1"/>
          </p:cNvSpPr>
          <p:nvPr>
            <p:ph sz="quarter" idx="19"/>
          </p:nvPr>
        </p:nvSpPr>
        <p:spPr>
          <a:xfrm>
            <a:off x="6588000" y="855000"/>
            <a:ext cx="5040000" cy="514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Title plus Content">
            <a:extLst>
              <a:ext uri="{FF2B5EF4-FFF2-40B4-BE49-F238E27FC236}">
                <a16:creationId xmlns:a16="http://schemas.microsoft.com/office/drawing/2014/main" id="{45EBC170-48B0-4CF4-F8CC-B91B703AABE9}"/>
              </a:ext>
            </a:extLst>
          </p:cNvPr>
          <p:cNvSpPr>
            <a:spLocks noGrp="1"/>
          </p:cNvSpPr>
          <p:nvPr>
            <p:ph type="body" sz="quarter" idx="20"/>
          </p:nvPr>
        </p:nvSpPr>
        <p:spPr>
          <a:xfrm>
            <a:off x="550799" y="2370665"/>
            <a:ext cx="5040000" cy="2116670"/>
          </a:xfrm>
        </p:spPr>
        <p:txBody>
          <a:bodyPr anchor="ctr">
            <a:spAutoFit/>
          </a:bodyPr>
          <a:lstStyle>
            <a:lvl1pPr>
              <a:lnSpc>
                <a:spcPct val="100000"/>
              </a:lnSpc>
              <a:spcBef>
                <a:spcPct val="0"/>
              </a:spcBef>
              <a:spcAft>
                <a:spcPts val="1200"/>
              </a:spcAft>
              <a:defRPr sz="4600">
                <a:solidFill>
                  <a:schemeClr val="tx2"/>
                </a:solidFill>
                <a:latin typeface="+mj-lt"/>
              </a:defRPr>
            </a:lvl1pPr>
            <a:lvl2pPr marL="0" indent="0">
              <a:lnSpc>
                <a:spcPct val="130000"/>
              </a:lnSpc>
              <a:buFontTx/>
              <a:buNone/>
              <a:defRPr/>
            </a:lvl2pPr>
            <a:lvl3pPr marL="0" indent="0">
              <a:spcBef>
                <a:spcPct val="0"/>
              </a:spcBef>
              <a:spcAft>
                <a:spcPts val="1200"/>
              </a:spcAft>
              <a:buFontTx/>
              <a:buNone/>
              <a:defRPr sz="4600">
                <a:solidFill>
                  <a:schemeClr val="bg1"/>
                </a:solidFill>
                <a:latin typeface="+mj-lt"/>
              </a:defRPr>
            </a:lvl3pPr>
            <a:lvl4pPr marL="0" indent="0">
              <a:spcBef>
                <a:spcPts val="1200"/>
              </a:spcBef>
              <a:buClr>
                <a:schemeClr val="tx2"/>
              </a:buClr>
              <a:buFontTx/>
              <a:buNone/>
              <a:defRPr/>
            </a:lvl4pPr>
            <a:lvl5pPr marL="252000" indent="-252000">
              <a:spcBef>
                <a:spcPts val="1200"/>
              </a:spcBef>
              <a:buClr>
                <a:schemeClr val="tx2"/>
              </a:buClr>
              <a:buFont typeface="Wingdings" pitchFamily="2" charset="2"/>
              <a:buChar char="§"/>
              <a:defRPr sz="1800" b="0">
                <a:solidFill>
                  <a:schemeClr val="tx1"/>
                </a:solidFill>
                <a:latin typeface="+mn-lt"/>
              </a:defRPr>
            </a:lvl5pPr>
            <a:lvl6pPr marL="504000" indent="-252000">
              <a:spcBef>
                <a:spcPts val="600"/>
              </a:spcBef>
              <a:buFont typeface="Symbol" panose="05050102010706020507" pitchFamily="18" charset="2"/>
              <a:buChar char="-"/>
              <a:defRPr sz="1800" b="0" baseline="0">
                <a:solidFill>
                  <a:schemeClr val="tx1"/>
                </a:solidFill>
                <a:latin typeface="+mn-lt"/>
              </a:defRPr>
            </a:lvl6pPr>
            <a:lvl7pPr marL="0" indent="0">
              <a:spcBef>
                <a:spcPts val="1200"/>
              </a:spcBef>
              <a:buFontTx/>
              <a:buNone/>
              <a:defRPr sz="1800">
                <a:solidFill>
                  <a:schemeClr val="tx2"/>
                </a:solidFill>
                <a:latin typeface="+mj-lt"/>
              </a:defRPr>
            </a:lvl7pPr>
            <a:lvl8pPr marL="0" indent="0">
              <a:spcBef>
                <a:spcPts val="1200"/>
              </a:spcBef>
              <a:buFontTx/>
              <a:buNone/>
              <a:defRPr sz="1800">
                <a:solidFill>
                  <a:schemeClr val="accent2"/>
                </a:solidFill>
                <a:latin typeface="+mj-lt"/>
              </a:defRPr>
            </a:lvl8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25501372"/>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15:guide id="10" pos="4158" userDrawn="1">
          <p15:clr>
            <a:srgbClr val="FBAE40"/>
          </p15:clr>
        </p15:guide>
        <p15:guide id="11" pos="3522"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creenshot Right ">
    <p:bg>
      <p:bgPr>
        <a:solidFill>
          <a:srgbClr val="EDFCFF"/>
        </a:solidFill>
        <a:effectLst/>
      </p:bgPr>
    </p:bg>
    <p:spTree>
      <p:nvGrpSpPr>
        <p:cNvPr id="1" name=""/>
        <p:cNvGrpSpPr/>
        <p:nvPr/>
      </p:nvGrpSpPr>
      <p:grpSpPr>
        <a:xfrm>
          <a:off x="0" y="0"/>
          <a:ext cx="0" cy="0"/>
          <a:chOff x="0" y="0"/>
          <a:chExt cx="0" cy="0"/>
        </a:xfrm>
      </p:grpSpPr>
      <p:sp>
        <p:nvSpPr>
          <p:cNvPr id="7" name="Title plus Content">
            <a:extLst>
              <a:ext uri="{FF2B5EF4-FFF2-40B4-BE49-F238E27FC236}">
                <a16:creationId xmlns:a16="http://schemas.microsoft.com/office/drawing/2014/main" id="{61C9325A-143B-C086-CC26-A49B2A34A1DE}"/>
              </a:ext>
            </a:extLst>
          </p:cNvPr>
          <p:cNvSpPr>
            <a:spLocks noGrp="1"/>
          </p:cNvSpPr>
          <p:nvPr>
            <p:ph type="body" sz="quarter" idx="20"/>
          </p:nvPr>
        </p:nvSpPr>
        <p:spPr>
          <a:xfrm>
            <a:off x="550799" y="2370665"/>
            <a:ext cx="5040000" cy="2116670"/>
          </a:xfrm>
        </p:spPr>
        <p:txBody>
          <a:bodyPr anchor="ctr">
            <a:spAutoFit/>
          </a:bodyPr>
          <a:lstStyle>
            <a:lvl1pPr>
              <a:lnSpc>
                <a:spcPct val="100000"/>
              </a:lnSpc>
              <a:spcBef>
                <a:spcPct val="0"/>
              </a:spcBef>
              <a:spcAft>
                <a:spcPts val="1200"/>
              </a:spcAft>
              <a:defRPr sz="4600">
                <a:solidFill>
                  <a:schemeClr val="tx2"/>
                </a:solidFill>
                <a:latin typeface="+mj-lt"/>
              </a:defRPr>
            </a:lvl1pPr>
            <a:lvl2pPr marL="0" indent="0">
              <a:lnSpc>
                <a:spcPct val="130000"/>
              </a:lnSpc>
              <a:buFontTx/>
              <a:buNone/>
              <a:defRPr/>
            </a:lvl2pPr>
            <a:lvl3pPr marL="0" indent="0">
              <a:spcBef>
                <a:spcPct val="0"/>
              </a:spcBef>
              <a:spcAft>
                <a:spcPts val="1200"/>
              </a:spcAft>
              <a:buFontTx/>
              <a:buNone/>
              <a:defRPr sz="4600">
                <a:solidFill>
                  <a:schemeClr val="bg1"/>
                </a:solidFill>
                <a:latin typeface="+mj-lt"/>
              </a:defRPr>
            </a:lvl3pPr>
            <a:lvl4pPr marL="0" indent="0">
              <a:spcBef>
                <a:spcPts val="1200"/>
              </a:spcBef>
              <a:buClr>
                <a:schemeClr val="tx2"/>
              </a:buClr>
              <a:buFontTx/>
              <a:buNone/>
              <a:defRPr/>
            </a:lvl4pPr>
            <a:lvl5pPr marL="252000" indent="-252000">
              <a:spcBef>
                <a:spcPts val="1200"/>
              </a:spcBef>
              <a:buClr>
                <a:schemeClr val="tx2"/>
              </a:buClr>
              <a:buFont typeface="Wingdings" pitchFamily="2" charset="2"/>
              <a:buChar char="§"/>
              <a:defRPr sz="1800" b="0">
                <a:solidFill>
                  <a:schemeClr val="tx1"/>
                </a:solidFill>
                <a:latin typeface="+mn-lt"/>
              </a:defRPr>
            </a:lvl5pPr>
            <a:lvl6pPr marL="504000" indent="-252000">
              <a:spcBef>
                <a:spcPts val="600"/>
              </a:spcBef>
              <a:buFont typeface="Symbol" panose="05050102010706020507" pitchFamily="18" charset="2"/>
              <a:buChar char="-"/>
              <a:defRPr sz="1800" b="0" baseline="0">
                <a:solidFill>
                  <a:schemeClr val="tx1"/>
                </a:solidFill>
                <a:latin typeface="+mn-lt"/>
              </a:defRPr>
            </a:lvl6pPr>
            <a:lvl7pPr marL="0" indent="0">
              <a:spcBef>
                <a:spcPts val="1200"/>
              </a:spcBef>
              <a:buFontTx/>
              <a:buNone/>
              <a:defRPr sz="1800">
                <a:solidFill>
                  <a:schemeClr val="tx2"/>
                </a:solidFill>
                <a:latin typeface="+mj-lt"/>
              </a:defRPr>
            </a:lvl7pPr>
            <a:lvl8pPr marL="0" indent="0">
              <a:spcBef>
                <a:spcPts val="1200"/>
              </a:spcBef>
              <a:buFontTx/>
              <a:buNone/>
              <a:defRPr sz="1800">
                <a:solidFill>
                  <a:schemeClr val="accent2"/>
                </a:solidFill>
                <a:latin typeface="+mj-lt"/>
              </a:defRPr>
            </a:lvl8pPr>
          </a:lstStyle>
          <a:p>
            <a:pPr lvl="0"/>
            <a:r>
              <a:rPr lang="en-US"/>
              <a:t>Click to edit Master text styles</a:t>
            </a:r>
          </a:p>
          <a:p>
            <a:pPr lvl="1"/>
            <a:r>
              <a:rPr lang="en-US"/>
              <a:t>Second level</a:t>
            </a:r>
          </a:p>
        </p:txBody>
      </p:sp>
      <p:sp>
        <p:nvSpPr>
          <p:cNvPr id="2" name="Rounded box shadow 15.4cm">
            <a:extLst>
              <a:ext uri="{FF2B5EF4-FFF2-40B4-BE49-F238E27FC236}">
                <a16:creationId xmlns:a16="http://schemas.microsoft.com/office/drawing/2014/main" id="{F9324273-5E02-E384-973C-BEB9B03CD9EB}"/>
              </a:ext>
            </a:extLst>
          </p:cNvPr>
          <p:cNvSpPr/>
          <p:nvPr userDrawn="1"/>
        </p:nvSpPr>
        <p:spPr>
          <a:xfrm>
            <a:off x="6096000" y="1701000"/>
            <a:ext cx="5544000" cy="3456000"/>
          </a:xfrm>
          <a:prstGeom prst="roundRect">
            <a:avLst>
              <a:gd name="adj" fmla="val 4914"/>
            </a:avLst>
          </a:prstGeom>
          <a:solidFill>
            <a:schemeClr val="bg1"/>
          </a:solidFill>
          <a:ln>
            <a:noFill/>
          </a:ln>
          <a:effectLst>
            <a:outerShdw blurRad="635000" dist="190500" dir="7200000" sx="105000" sy="105000" algn="tr"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T"/>
          </a:p>
        </p:txBody>
      </p:sp>
    </p:spTree>
    <p:extLst>
      <p:ext uri="{BB962C8B-B14F-4D97-AF65-F5344CB8AC3E}">
        <p14:creationId xmlns:p14="http://schemas.microsoft.com/office/powerpoint/2010/main" val="2762336639"/>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15:guide id="5" pos="3522"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creenshot Left">
    <p:bg>
      <p:bgPr>
        <a:solidFill>
          <a:srgbClr val="EDFCFF"/>
        </a:solidFill>
        <a:effectLst/>
      </p:bgPr>
    </p:bg>
    <p:spTree>
      <p:nvGrpSpPr>
        <p:cNvPr id="1" name=""/>
        <p:cNvGrpSpPr/>
        <p:nvPr/>
      </p:nvGrpSpPr>
      <p:grpSpPr>
        <a:xfrm>
          <a:off x="0" y="0"/>
          <a:ext cx="0" cy="0"/>
          <a:chOff x="0" y="0"/>
          <a:chExt cx="0" cy="0"/>
        </a:xfrm>
      </p:grpSpPr>
      <p:sp>
        <p:nvSpPr>
          <p:cNvPr id="6" name="Rounded box shadow 15.4cm">
            <a:extLst>
              <a:ext uri="{FF2B5EF4-FFF2-40B4-BE49-F238E27FC236}">
                <a16:creationId xmlns:a16="http://schemas.microsoft.com/office/drawing/2014/main" id="{71AA9E56-2169-4EE4-DECA-A5FE2400A7DC}"/>
              </a:ext>
            </a:extLst>
          </p:cNvPr>
          <p:cNvSpPr/>
          <p:nvPr/>
        </p:nvSpPr>
        <p:spPr>
          <a:xfrm>
            <a:off x="550800" y="1701000"/>
            <a:ext cx="5545200" cy="3456000"/>
          </a:xfrm>
          <a:prstGeom prst="roundRect">
            <a:avLst>
              <a:gd name="adj" fmla="val 4914"/>
            </a:avLst>
          </a:prstGeom>
          <a:solidFill>
            <a:schemeClr val="bg1"/>
          </a:solidFill>
          <a:ln>
            <a:noFill/>
          </a:ln>
          <a:effectLst>
            <a:outerShdw blurRad="635000" dist="190500" dir="7200000" sx="105000" sy="105000" algn="tr"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T"/>
          </a:p>
        </p:txBody>
      </p:sp>
      <p:sp>
        <p:nvSpPr>
          <p:cNvPr id="4" name="Title plus Content">
            <a:extLst>
              <a:ext uri="{FF2B5EF4-FFF2-40B4-BE49-F238E27FC236}">
                <a16:creationId xmlns:a16="http://schemas.microsoft.com/office/drawing/2014/main" id="{9AB75B78-866E-BD40-6649-790407DDB039}"/>
              </a:ext>
            </a:extLst>
          </p:cNvPr>
          <p:cNvSpPr>
            <a:spLocks noGrp="1"/>
          </p:cNvSpPr>
          <p:nvPr>
            <p:ph type="body" sz="quarter" idx="20"/>
          </p:nvPr>
        </p:nvSpPr>
        <p:spPr>
          <a:xfrm>
            <a:off x="6588000" y="2406060"/>
            <a:ext cx="5040000" cy="2045881"/>
          </a:xfrm>
        </p:spPr>
        <p:txBody>
          <a:bodyPr anchor="ctr">
            <a:spAutoFit/>
          </a:bodyPr>
          <a:lstStyle>
            <a:lvl1pPr>
              <a:lnSpc>
                <a:spcPct val="100000"/>
              </a:lnSpc>
              <a:spcBef>
                <a:spcPct val="0"/>
              </a:spcBef>
              <a:spcAft>
                <a:spcPts val="1200"/>
              </a:spcAft>
              <a:defRPr sz="4600">
                <a:solidFill>
                  <a:schemeClr val="tx2"/>
                </a:solidFill>
                <a:latin typeface="+mj-lt"/>
              </a:defRPr>
            </a:lvl1pPr>
            <a:lvl2pPr marL="0" indent="0">
              <a:lnSpc>
                <a:spcPct val="130000"/>
              </a:lnSpc>
              <a:buFontTx/>
              <a:buNone/>
              <a:defRPr/>
            </a:lvl2pPr>
            <a:lvl3pPr marL="0" indent="0">
              <a:spcBef>
                <a:spcPct val="0"/>
              </a:spcBef>
              <a:spcAft>
                <a:spcPts val="1200"/>
              </a:spcAft>
              <a:buFontTx/>
              <a:buNone/>
              <a:defRPr sz="4600">
                <a:solidFill>
                  <a:schemeClr val="bg1"/>
                </a:solidFill>
                <a:latin typeface="+mj-lt"/>
              </a:defRPr>
            </a:lvl3pPr>
            <a:lvl4pPr marL="0" indent="0">
              <a:spcBef>
                <a:spcPts val="1200"/>
              </a:spcBef>
              <a:buClr>
                <a:schemeClr val="tx2"/>
              </a:buClr>
              <a:buFontTx/>
              <a:buNone/>
              <a:defRPr/>
            </a:lvl4pPr>
            <a:lvl5pPr marL="252000" indent="-252000">
              <a:spcBef>
                <a:spcPts val="1200"/>
              </a:spcBef>
              <a:buClr>
                <a:schemeClr val="tx2"/>
              </a:buClr>
              <a:buFont typeface="Wingdings" pitchFamily="2" charset="2"/>
              <a:buChar char="§"/>
              <a:defRPr sz="1800" b="0">
                <a:solidFill>
                  <a:schemeClr val="tx1"/>
                </a:solidFill>
                <a:latin typeface="+mn-lt"/>
              </a:defRPr>
            </a:lvl5pPr>
            <a:lvl6pPr marL="504000" indent="-252000">
              <a:spcBef>
                <a:spcPts val="600"/>
              </a:spcBef>
              <a:buFont typeface="Symbol" panose="05050102010706020507" pitchFamily="18" charset="2"/>
              <a:buChar char="-"/>
              <a:defRPr sz="1800" b="0" baseline="0">
                <a:solidFill>
                  <a:schemeClr val="tx1"/>
                </a:solidFill>
                <a:latin typeface="+mn-lt"/>
              </a:defRPr>
            </a:lvl6pPr>
            <a:lvl7pPr marL="0" indent="0">
              <a:spcBef>
                <a:spcPts val="1200"/>
              </a:spcBef>
              <a:buFontTx/>
              <a:buNone/>
              <a:defRPr sz="1800">
                <a:solidFill>
                  <a:schemeClr val="tx2"/>
                </a:solidFill>
                <a:latin typeface="+mj-lt"/>
              </a:defRPr>
            </a:lvl7pPr>
            <a:lvl8pPr marL="0" indent="0">
              <a:spcBef>
                <a:spcPts val="1200"/>
              </a:spcBef>
              <a:buFontTx/>
              <a:buNone/>
              <a:defRPr sz="1800">
                <a:solidFill>
                  <a:schemeClr val="accent2"/>
                </a:solidFill>
                <a:latin typeface="+mj-lt"/>
              </a:defRPr>
            </a:lvl8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93048510"/>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15:guide id="1" pos="4158"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creenshot Left large">
    <p:bg>
      <p:bgPr>
        <a:solidFill>
          <a:srgbClr val="EDFCFF"/>
        </a:solidFill>
        <a:effectLst/>
      </p:bgPr>
    </p:bg>
    <p:spTree>
      <p:nvGrpSpPr>
        <p:cNvPr id="1" name=""/>
        <p:cNvGrpSpPr/>
        <p:nvPr/>
      </p:nvGrpSpPr>
      <p:grpSpPr>
        <a:xfrm>
          <a:off x="0" y="0"/>
          <a:ext cx="0" cy="0"/>
          <a:chOff x="0" y="0"/>
          <a:chExt cx="0" cy="0"/>
        </a:xfrm>
      </p:grpSpPr>
      <p:sp>
        <p:nvSpPr>
          <p:cNvPr id="2" name="Rounded box full half">
            <a:extLst>
              <a:ext uri="{FF2B5EF4-FFF2-40B4-BE49-F238E27FC236}">
                <a16:creationId xmlns:a16="http://schemas.microsoft.com/office/drawing/2014/main" id="{3A8205A9-953F-940D-2D52-F3823977D145}"/>
              </a:ext>
            </a:extLst>
          </p:cNvPr>
          <p:cNvSpPr/>
          <p:nvPr userDrawn="1"/>
        </p:nvSpPr>
        <p:spPr>
          <a:xfrm>
            <a:off x="6096000" y="836613"/>
            <a:ext cx="5544000" cy="5184775"/>
          </a:xfrm>
          <a:prstGeom prst="roundRect">
            <a:avLst>
              <a:gd name="adj" fmla="val 4914"/>
            </a:avLst>
          </a:prstGeom>
          <a:solidFill>
            <a:schemeClr val="bg1"/>
          </a:solidFill>
          <a:ln>
            <a:noFill/>
          </a:ln>
          <a:effectLst>
            <a:outerShdw blurRad="635000" dist="190500" dir="7200000" sx="105000" sy="105000" algn="tr"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T"/>
          </a:p>
        </p:txBody>
      </p:sp>
      <p:sp>
        <p:nvSpPr>
          <p:cNvPr id="7" name="Title plus Content">
            <a:extLst>
              <a:ext uri="{FF2B5EF4-FFF2-40B4-BE49-F238E27FC236}">
                <a16:creationId xmlns:a16="http://schemas.microsoft.com/office/drawing/2014/main" id="{1D86D189-69EC-D31E-EC4F-AC1670290D99}"/>
              </a:ext>
            </a:extLst>
          </p:cNvPr>
          <p:cNvSpPr>
            <a:spLocks noGrp="1"/>
          </p:cNvSpPr>
          <p:nvPr>
            <p:ph type="body" sz="quarter" idx="20"/>
          </p:nvPr>
        </p:nvSpPr>
        <p:spPr>
          <a:xfrm>
            <a:off x="550799" y="2370665"/>
            <a:ext cx="5040000" cy="2116670"/>
          </a:xfrm>
        </p:spPr>
        <p:txBody>
          <a:bodyPr anchor="ctr">
            <a:spAutoFit/>
          </a:bodyPr>
          <a:lstStyle>
            <a:lvl1pPr>
              <a:lnSpc>
                <a:spcPct val="100000"/>
              </a:lnSpc>
              <a:spcBef>
                <a:spcPct val="0"/>
              </a:spcBef>
              <a:spcAft>
                <a:spcPts val="1200"/>
              </a:spcAft>
              <a:defRPr sz="4600">
                <a:solidFill>
                  <a:schemeClr val="tx2"/>
                </a:solidFill>
                <a:latin typeface="+mj-lt"/>
              </a:defRPr>
            </a:lvl1pPr>
            <a:lvl2pPr marL="0" indent="0">
              <a:lnSpc>
                <a:spcPct val="130000"/>
              </a:lnSpc>
              <a:buFontTx/>
              <a:buNone/>
              <a:defRPr/>
            </a:lvl2pPr>
            <a:lvl3pPr marL="0" indent="0">
              <a:spcBef>
                <a:spcPct val="0"/>
              </a:spcBef>
              <a:spcAft>
                <a:spcPts val="1200"/>
              </a:spcAft>
              <a:buFontTx/>
              <a:buNone/>
              <a:defRPr sz="4600">
                <a:solidFill>
                  <a:schemeClr val="bg1"/>
                </a:solidFill>
                <a:latin typeface="+mj-lt"/>
              </a:defRPr>
            </a:lvl3pPr>
            <a:lvl4pPr marL="0" indent="0">
              <a:spcBef>
                <a:spcPts val="1200"/>
              </a:spcBef>
              <a:buClr>
                <a:schemeClr val="tx2"/>
              </a:buClr>
              <a:buFontTx/>
              <a:buNone/>
              <a:defRPr/>
            </a:lvl4pPr>
            <a:lvl5pPr marL="252000" indent="-252000">
              <a:spcBef>
                <a:spcPts val="1200"/>
              </a:spcBef>
              <a:buClr>
                <a:schemeClr val="tx2"/>
              </a:buClr>
              <a:buFont typeface="Wingdings" pitchFamily="2" charset="2"/>
              <a:buChar char="§"/>
              <a:defRPr sz="1800" b="0">
                <a:solidFill>
                  <a:schemeClr val="tx1"/>
                </a:solidFill>
                <a:latin typeface="+mn-lt"/>
              </a:defRPr>
            </a:lvl5pPr>
            <a:lvl6pPr marL="504000" indent="-252000">
              <a:spcBef>
                <a:spcPts val="600"/>
              </a:spcBef>
              <a:buFont typeface="Symbol" panose="05050102010706020507" pitchFamily="18" charset="2"/>
              <a:buChar char="-"/>
              <a:defRPr sz="1800" b="0" baseline="0">
                <a:solidFill>
                  <a:schemeClr val="tx1"/>
                </a:solidFill>
                <a:latin typeface="+mn-lt"/>
              </a:defRPr>
            </a:lvl6pPr>
            <a:lvl7pPr marL="0" indent="0">
              <a:spcBef>
                <a:spcPts val="1200"/>
              </a:spcBef>
              <a:buFontTx/>
              <a:buNone/>
              <a:defRPr sz="1800">
                <a:solidFill>
                  <a:schemeClr val="tx2"/>
                </a:solidFill>
                <a:latin typeface="+mj-lt"/>
              </a:defRPr>
            </a:lvl7pPr>
            <a:lvl8pPr marL="0" indent="0">
              <a:spcBef>
                <a:spcPts val="1200"/>
              </a:spcBef>
              <a:buFontTx/>
              <a:buNone/>
              <a:defRPr sz="1800">
                <a:solidFill>
                  <a:schemeClr val="accent2"/>
                </a:solidFill>
                <a:latin typeface="+mj-lt"/>
              </a:defRPr>
            </a:lvl8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19799298"/>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15:guide id="5" pos="3522"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creenshot Right large">
    <p:bg>
      <p:bgPr>
        <a:solidFill>
          <a:srgbClr val="EDFCFF"/>
        </a:solidFill>
        <a:effectLst/>
      </p:bgPr>
    </p:bg>
    <p:spTree>
      <p:nvGrpSpPr>
        <p:cNvPr id="1" name=""/>
        <p:cNvGrpSpPr/>
        <p:nvPr/>
      </p:nvGrpSpPr>
      <p:grpSpPr>
        <a:xfrm>
          <a:off x="0" y="0"/>
          <a:ext cx="0" cy="0"/>
          <a:chOff x="0" y="0"/>
          <a:chExt cx="0" cy="0"/>
        </a:xfrm>
      </p:grpSpPr>
      <p:sp>
        <p:nvSpPr>
          <p:cNvPr id="2" name="Rounded box full half">
            <a:extLst>
              <a:ext uri="{FF2B5EF4-FFF2-40B4-BE49-F238E27FC236}">
                <a16:creationId xmlns:a16="http://schemas.microsoft.com/office/drawing/2014/main" id="{CB90E03C-6C50-AE93-C5CE-D641F0B03CFE}"/>
              </a:ext>
            </a:extLst>
          </p:cNvPr>
          <p:cNvSpPr/>
          <p:nvPr userDrawn="1"/>
        </p:nvSpPr>
        <p:spPr>
          <a:xfrm>
            <a:off x="550800" y="836613"/>
            <a:ext cx="5545200" cy="5184775"/>
          </a:xfrm>
          <a:prstGeom prst="roundRect">
            <a:avLst>
              <a:gd name="adj" fmla="val 5218"/>
            </a:avLst>
          </a:prstGeom>
          <a:solidFill>
            <a:schemeClr val="bg1"/>
          </a:solidFill>
          <a:ln>
            <a:noFill/>
          </a:ln>
          <a:effectLst>
            <a:outerShdw blurRad="635000" dist="190500" dir="7200000" sx="105000" sy="105000" algn="tr"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T"/>
          </a:p>
        </p:txBody>
      </p:sp>
      <p:sp>
        <p:nvSpPr>
          <p:cNvPr id="6" name="Title plus Content">
            <a:extLst>
              <a:ext uri="{FF2B5EF4-FFF2-40B4-BE49-F238E27FC236}">
                <a16:creationId xmlns:a16="http://schemas.microsoft.com/office/drawing/2014/main" id="{B6654FCF-9E23-F30B-D796-174B643B33BC}"/>
              </a:ext>
            </a:extLst>
          </p:cNvPr>
          <p:cNvSpPr>
            <a:spLocks noGrp="1"/>
          </p:cNvSpPr>
          <p:nvPr>
            <p:ph type="body" sz="quarter" idx="20"/>
          </p:nvPr>
        </p:nvSpPr>
        <p:spPr>
          <a:xfrm>
            <a:off x="6588000" y="2406060"/>
            <a:ext cx="5040000" cy="2045881"/>
          </a:xfrm>
        </p:spPr>
        <p:txBody>
          <a:bodyPr anchor="ctr">
            <a:spAutoFit/>
          </a:bodyPr>
          <a:lstStyle>
            <a:lvl1pPr>
              <a:lnSpc>
                <a:spcPct val="100000"/>
              </a:lnSpc>
              <a:spcBef>
                <a:spcPct val="0"/>
              </a:spcBef>
              <a:spcAft>
                <a:spcPts val="1200"/>
              </a:spcAft>
              <a:defRPr sz="4600">
                <a:solidFill>
                  <a:schemeClr val="tx2"/>
                </a:solidFill>
                <a:latin typeface="+mj-lt"/>
              </a:defRPr>
            </a:lvl1pPr>
            <a:lvl2pPr marL="0" indent="0">
              <a:lnSpc>
                <a:spcPct val="130000"/>
              </a:lnSpc>
              <a:buFontTx/>
              <a:buNone/>
              <a:defRPr/>
            </a:lvl2pPr>
            <a:lvl3pPr marL="0" indent="0">
              <a:spcBef>
                <a:spcPct val="0"/>
              </a:spcBef>
              <a:spcAft>
                <a:spcPts val="1200"/>
              </a:spcAft>
              <a:buFontTx/>
              <a:buNone/>
              <a:defRPr sz="4600">
                <a:solidFill>
                  <a:schemeClr val="bg1"/>
                </a:solidFill>
                <a:latin typeface="+mj-lt"/>
              </a:defRPr>
            </a:lvl3pPr>
            <a:lvl4pPr marL="0" indent="0">
              <a:spcBef>
                <a:spcPts val="1200"/>
              </a:spcBef>
              <a:buClr>
                <a:schemeClr val="tx2"/>
              </a:buClr>
              <a:buFontTx/>
              <a:buNone/>
              <a:defRPr/>
            </a:lvl4pPr>
            <a:lvl5pPr marL="252000" indent="-252000">
              <a:spcBef>
                <a:spcPts val="1200"/>
              </a:spcBef>
              <a:buClr>
                <a:schemeClr val="tx2"/>
              </a:buClr>
              <a:buFont typeface="Wingdings" pitchFamily="2" charset="2"/>
              <a:buChar char="§"/>
              <a:defRPr sz="1800" b="0">
                <a:solidFill>
                  <a:schemeClr val="tx1"/>
                </a:solidFill>
                <a:latin typeface="+mn-lt"/>
              </a:defRPr>
            </a:lvl5pPr>
            <a:lvl6pPr marL="504000" indent="-252000">
              <a:spcBef>
                <a:spcPts val="600"/>
              </a:spcBef>
              <a:buFont typeface="Symbol" panose="05050102010706020507" pitchFamily="18" charset="2"/>
              <a:buChar char="-"/>
              <a:defRPr sz="1800" b="0" baseline="0">
                <a:solidFill>
                  <a:schemeClr val="tx1"/>
                </a:solidFill>
                <a:latin typeface="+mn-lt"/>
              </a:defRPr>
            </a:lvl6pPr>
            <a:lvl7pPr marL="0" indent="0">
              <a:spcBef>
                <a:spcPts val="1200"/>
              </a:spcBef>
              <a:buFontTx/>
              <a:buNone/>
              <a:defRPr sz="1800">
                <a:solidFill>
                  <a:schemeClr val="tx2"/>
                </a:solidFill>
                <a:latin typeface="+mj-lt"/>
              </a:defRPr>
            </a:lvl7pPr>
            <a:lvl8pPr marL="0" indent="0">
              <a:spcBef>
                <a:spcPts val="1200"/>
              </a:spcBef>
              <a:buFontTx/>
              <a:buNone/>
              <a:defRPr sz="1800">
                <a:solidFill>
                  <a:schemeClr val="accent2"/>
                </a:solidFill>
                <a:latin typeface="+mj-lt"/>
              </a:defRPr>
            </a:lvl8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13879193"/>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15:guide id="1" pos="3840" userDrawn="1">
          <p15:clr>
            <a:srgbClr val="FBAE40"/>
          </p15:clr>
        </p15:guide>
        <p15:guide id="2" pos="415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ith image">
    <p:spTree>
      <p:nvGrpSpPr>
        <p:cNvPr id="1" name=""/>
        <p:cNvGrpSpPr/>
        <p:nvPr/>
      </p:nvGrpSpPr>
      <p:grpSpPr>
        <a:xfrm>
          <a:off x="0" y="0"/>
          <a:ext cx="0" cy="0"/>
          <a:chOff x="0" y="0"/>
          <a:chExt cx="0" cy="0"/>
        </a:xfrm>
      </p:grpSpPr>
      <p:sp>
        <p:nvSpPr>
          <p:cNvPr id="16" name="Blue Block">
            <a:extLst>
              <a:ext uri="{FF2B5EF4-FFF2-40B4-BE49-F238E27FC236}">
                <a16:creationId xmlns:a16="http://schemas.microsoft.com/office/drawing/2014/main" id="{12453F8B-CE7E-AFE0-3462-35D246540372}"/>
              </a:ext>
            </a:extLst>
          </p:cNvPr>
          <p:cNvSpPr/>
          <p:nvPr userDrawn="1"/>
        </p:nvSpPr>
        <p:spPr bwMode="white">
          <a:xfrm>
            <a:off x="0" y="0"/>
            <a:ext cx="4860000" cy="46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T"/>
          </a:p>
        </p:txBody>
      </p:sp>
      <p:sp>
        <p:nvSpPr>
          <p:cNvPr id="15" name="Picture Placeholder 14">
            <a:extLst>
              <a:ext uri="{FF2B5EF4-FFF2-40B4-BE49-F238E27FC236}">
                <a16:creationId xmlns:a16="http://schemas.microsoft.com/office/drawing/2014/main" id="{B0738DAB-25E3-9346-CA31-170E03F8D7F7}"/>
              </a:ext>
            </a:extLst>
          </p:cNvPr>
          <p:cNvSpPr>
            <a:spLocks noGrp="1"/>
          </p:cNvSpPr>
          <p:nvPr>
            <p:ph type="pic" sz="quarter" idx="10"/>
          </p:nvPr>
        </p:nvSpPr>
        <p:spPr>
          <a:xfrm>
            <a:off x="0" y="0"/>
            <a:ext cx="12192000" cy="6858000"/>
          </a:xfrm>
          <a:custGeom>
            <a:avLst/>
            <a:gdLst>
              <a:gd name="connsiteX0" fmla="*/ 10034885 w 12192000"/>
              <a:gd name="connsiteY0" fmla="*/ 1173187 h 6858000"/>
              <a:gd name="connsiteX1" fmla="*/ 10071020 w 12192000"/>
              <a:gd name="connsiteY1" fmla="*/ 1225500 h 6858000"/>
              <a:gd name="connsiteX2" fmla="*/ 10034015 w 12192000"/>
              <a:gd name="connsiteY2" fmla="*/ 1276551 h 6858000"/>
              <a:gd name="connsiteX3" fmla="*/ 9997039 w 12192000"/>
              <a:gd name="connsiteY3" fmla="*/ 1225500 h 6858000"/>
              <a:gd name="connsiteX4" fmla="*/ 10034885 w 12192000"/>
              <a:gd name="connsiteY4" fmla="*/ 1173187 h 6858000"/>
              <a:gd name="connsiteX5" fmla="*/ 10300888 w 12192000"/>
              <a:gd name="connsiteY5" fmla="*/ 1166404 h 6858000"/>
              <a:gd name="connsiteX6" fmla="*/ 10338314 w 12192000"/>
              <a:gd name="connsiteY6" fmla="*/ 1224659 h 6858000"/>
              <a:gd name="connsiteX7" fmla="*/ 10300888 w 12192000"/>
              <a:gd name="connsiteY7" fmla="*/ 1283334 h 6858000"/>
              <a:gd name="connsiteX8" fmla="*/ 10263882 w 12192000"/>
              <a:gd name="connsiteY8" fmla="*/ 1224659 h 6858000"/>
              <a:gd name="connsiteX9" fmla="*/ 10300888 w 12192000"/>
              <a:gd name="connsiteY9" fmla="*/ 1166404 h 6858000"/>
              <a:gd name="connsiteX10" fmla="*/ 9339940 w 12192000"/>
              <a:gd name="connsiteY10" fmla="*/ 1157461 h 6858000"/>
              <a:gd name="connsiteX11" fmla="*/ 9380757 w 12192000"/>
              <a:gd name="connsiteY11" fmla="*/ 1199568 h 6858000"/>
              <a:gd name="connsiteX12" fmla="*/ 9300833 w 12192000"/>
              <a:gd name="connsiteY12" fmla="*/ 1199568 h 6858000"/>
              <a:gd name="connsiteX13" fmla="*/ 9339940 w 12192000"/>
              <a:gd name="connsiteY13" fmla="*/ 1157461 h 6858000"/>
              <a:gd name="connsiteX14" fmla="*/ 10935718 w 12192000"/>
              <a:gd name="connsiteY14" fmla="*/ 1157431 h 6858000"/>
              <a:gd name="connsiteX15" fmla="*/ 10976535 w 12192000"/>
              <a:gd name="connsiteY15" fmla="*/ 1199538 h 6858000"/>
              <a:gd name="connsiteX16" fmla="*/ 10896611 w 12192000"/>
              <a:gd name="connsiteY16" fmla="*/ 1199538 h 6858000"/>
              <a:gd name="connsiteX17" fmla="*/ 10935718 w 12192000"/>
              <a:gd name="connsiteY17" fmla="*/ 1157431 h 6858000"/>
              <a:gd name="connsiteX18" fmla="*/ 10423850 w 12192000"/>
              <a:gd name="connsiteY18" fmla="*/ 1111961 h 6858000"/>
              <a:gd name="connsiteX19" fmla="*/ 10498282 w 12192000"/>
              <a:gd name="connsiteY19" fmla="*/ 1337777 h 6858000"/>
              <a:gd name="connsiteX20" fmla="*/ 10586279 w 12192000"/>
              <a:gd name="connsiteY20" fmla="*/ 1337777 h 6858000"/>
              <a:gd name="connsiteX21" fmla="*/ 10619053 w 12192000"/>
              <a:gd name="connsiteY21" fmla="*/ 1207222 h 6858000"/>
              <a:gd name="connsiteX22" fmla="*/ 10651767 w 12192000"/>
              <a:gd name="connsiteY22" fmla="*/ 1337777 h 6858000"/>
              <a:gd name="connsiteX23" fmla="*/ 10739794 w 12192000"/>
              <a:gd name="connsiteY23" fmla="*/ 1337777 h 6858000"/>
              <a:gd name="connsiteX24" fmla="*/ 10810774 w 12192000"/>
              <a:gd name="connsiteY24" fmla="*/ 1111961 h 6858000"/>
              <a:gd name="connsiteX25" fmla="*/ 10725358 w 12192000"/>
              <a:gd name="connsiteY25" fmla="*/ 1111961 h 6858000"/>
              <a:gd name="connsiteX26" fmla="*/ 10691774 w 12192000"/>
              <a:gd name="connsiteY26" fmla="*/ 1249750 h 6858000"/>
              <a:gd name="connsiteX27" fmla="*/ 10656899 w 12192000"/>
              <a:gd name="connsiteY27" fmla="*/ 1111961 h 6858000"/>
              <a:gd name="connsiteX28" fmla="*/ 10581207 w 12192000"/>
              <a:gd name="connsiteY28" fmla="*/ 1111961 h 6858000"/>
              <a:gd name="connsiteX29" fmla="*/ 10546332 w 12192000"/>
              <a:gd name="connsiteY29" fmla="*/ 1249750 h 6858000"/>
              <a:gd name="connsiteX30" fmla="*/ 10512718 w 12192000"/>
              <a:gd name="connsiteY30" fmla="*/ 1111961 h 6858000"/>
              <a:gd name="connsiteX31" fmla="*/ 10062497 w 12192000"/>
              <a:gd name="connsiteY31" fmla="*/ 1106019 h 6858000"/>
              <a:gd name="connsiteX32" fmla="*/ 9989386 w 12192000"/>
              <a:gd name="connsiteY32" fmla="*/ 1140894 h 6858000"/>
              <a:gd name="connsiteX33" fmla="*/ 9989386 w 12192000"/>
              <a:gd name="connsiteY33" fmla="*/ 1111961 h 6858000"/>
              <a:gd name="connsiteX34" fmla="*/ 9909882 w 12192000"/>
              <a:gd name="connsiteY34" fmla="*/ 1111961 h 6858000"/>
              <a:gd name="connsiteX35" fmla="*/ 9909882 w 12192000"/>
              <a:gd name="connsiteY35" fmla="*/ 1428325 h 6858000"/>
              <a:gd name="connsiteX36" fmla="*/ 9997039 w 12192000"/>
              <a:gd name="connsiteY36" fmla="*/ 1428325 h 6858000"/>
              <a:gd name="connsiteX37" fmla="*/ 9997039 w 12192000"/>
              <a:gd name="connsiteY37" fmla="*/ 1316498 h 6858000"/>
              <a:gd name="connsiteX38" fmla="*/ 10060816 w 12192000"/>
              <a:gd name="connsiteY38" fmla="*/ 1345400 h 6858000"/>
              <a:gd name="connsiteX39" fmla="*/ 10160758 w 12192000"/>
              <a:gd name="connsiteY39" fmla="*/ 1225500 h 6858000"/>
              <a:gd name="connsiteX40" fmla="*/ 10062526 w 12192000"/>
              <a:gd name="connsiteY40" fmla="*/ 1106019 h 6858000"/>
              <a:gd name="connsiteX41" fmla="*/ 11241367 w 12192000"/>
              <a:gd name="connsiteY41" fmla="*/ 1105989 h 6858000"/>
              <a:gd name="connsiteX42" fmla="*/ 11171197 w 12192000"/>
              <a:gd name="connsiteY42" fmla="*/ 1153199 h 6858000"/>
              <a:gd name="connsiteX43" fmla="*/ 11171197 w 12192000"/>
              <a:gd name="connsiteY43" fmla="*/ 1111931 h 6858000"/>
              <a:gd name="connsiteX44" fmla="*/ 11088272 w 12192000"/>
              <a:gd name="connsiteY44" fmla="*/ 1111931 h 6858000"/>
              <a:gd name="connsiteX45" fmla="*/ 11088272 w 12192000"/>
              <a:gd name="connsiteY45" fmla="*/ 1337747 h 6858000"/>
              <a:gd name="connsiteX46" fmla="*/ 11178401 w 12192000"/>
              <a:gd name="connsiteY46" fmla="*/ 1337747 h 6858000"/>
              <a:gd name="connsiteX47" fmla="*/ 11178401 w 12192000"/>
              <a:gd name="connsiteY47" fmla="*/ 1245068 h 6858000"/>
              <a:gd name="connsiteX48" fmla="*/ 11231133 w 12192000"/>
              <a:gd name="connsiteY48" fmla="*/ 1194436 h 6858000"/>
              <a:gd name="connsiteX49" fmla="*/ 11249441 w 12192000"/>
              <a:gd name="connsiteY49" fmla="*/ 1195727 h 6858000"/>
              <a:gd name="connsiteX50" fmla="*/ 11249441 w 12192000"/>
              <a:gd name="connsiteY50" fmla="*/ 1105989 h 6858000"/>
              <a:gd name="connsiteX51" fmla="*/ 9794543 w 12192000"/>
              <a:gd name="connsiteY51" fmla="*/ 1104818 h 6858000"/>
              <a:gd name="connsiteX52" fmla="*/ 9750724 w 12192000"/>
              <a:gd name="connsiteY52" fmla="*/ 1114392 h 6858000"/>
              <a:gd name="connsiteX53" fmla="*/ 9714949 w 12192000"/>
              <a:gd name="connsiteY53" fmla="*/ 1144375 h 6858000"/>
              <a:gd name="connsiteX54" fmla="*/ 9686317 w 12192000"/>
              <a:gd name="connsiteY54" fmla="*/ 1114602 h 6858000"/>
              <a:gd name="connsiteX55" fmla="*/ 9648171 w 12192000"/>
              <a:gd name="connsiteY55" fmla="*/ 1105238 h 6858000"/>
              <a:gd name="connsiteX56" fmla="*/ 9605372 w 12192000"/>
              <a:gd name="connsiteY56" fmla="*/ 1114813 h 6858000"/>
              <a:gd name="connsiteX57" fmla="*/ 9571878 w 12192000"/>
              <a:gd name="connsiteY57" fmla="*/ 1144405 h 6858000"/>
              <a:gd name="connsiteX58" fmla="*/ 9571878 w 12192000"/>
              <a:gd name="connsiteY58" fmla="*/ 1111301 h 6858000"/>
              <a:gd name="connsiteX59" fmla="*/ 9490634 w 12192000"/>
              <a:gd name="connsiteY59" fmla="*/ 1111301 h 6858000"/>
              <a:gd name="connsiteX60" fmla="*/ 9490634 w 12192000"/>
              <a:gd name="connsiteY60" fmla="*/ 1337777 h 6858000"/>
              <a:gd name="connsiteX61" fmla="*/ 9578721 w 12192000"/>
              <a:gd name="connsiteY61" fmla="*/ 1337777 h 6858000"/>
              <a:gd name="connsiteX62" fmla="*/ 9578721 w 12192000"/>
              <a:gd name="connsiteY62" fmla="*/ 1216105 h 6858000"/>
              <a:gd name="connsiteX63" fmla="*/ 9586464 w 12192000"/>
              <a:gd name="connsiteY63" fmla="*/ 1186303 h 6858000"/>
              <a:gd name="connsiteX64" fmla="*/ 9609094 w 12192000"/>
              <a:gd name="connsiteY64" fmla="*/ 1176098 h 6858000"/>
              <a:gd name="connsiteX65" fmla="*/ 9633164 w 12192000"/>
              <a:gd name="connsiteY65" fmla="*/ 1186213 h 6858000"/>
              <a:gd name="connsiteX66" fmla="*/ 9640517 w 12192000"/>
              <a:gd name="connsiteY66" fmla="*/ 1219647 h 6858000"/>
              <a:gd name="connsiteX67" fmla="*/ 9640517 w 12192000"/>
              <a:gd name="connsiteY67" fmla="*/ 1337777 h 6858000"/>
              <a:gd name="connsiteX68" fmla="*/ 9728184 w 12192000"/>
              <a:gd name="connsiteY68" fmla="*/ 1337777 h 6858000"/>
              <a:gd name="connsiteX69" fmla="*/ 9728184 w 12192000"/>
              <a:gd name="connsiteY69" fmla="*/ 1217366 h 6858000"/>
              <a:gd name="connsiteX70" fmla="*/ 9735838 w 12192000"/>
              <a:gd name="connsiteY70" fmla="*/ 1186123 h 6858000"/>
              <a:gd name="connsiteX71" fmla="*/ 9759818 w 12192000"/>
              <a:gd name="connsiteY71" fmla="*/ 1176098 h 6858000"/>
              <a:gd name="connsiteX72" fmla="*/ 9782868 w 12192000"/>
              <a:gd name="connsiteY72" fmla="*/ 1185703 h 6858000"/>
              <a:gd name="connsiteX73" fmla="*/ 9790011 w 12192000"/>
              <a:gd name="connsiteY73" fmla="*/ 1216526 h 6858000"/>
              <a:gd name="connsiteX74" fmla="*/ 9790011 w 12192000"/>
              <a:gd name="connsiteY74" fmla="*/ 1337777 h 6858000"/>
              <a:gd name="connsiteX75" fmla="*/ 9878068 w 12192000"/>
              <a:gd name="connsiteY75" fmla="*/ 1337777 h 6858000"/>
              <a:gd name="connsiteX76" fmla="*/ 9878068 w 12192000"/>
              <a:gd name="connsiteY76" fmla="*/ 1183392 h 6858000"/>
              <a:gd name="connsiteX77" fmla="*/ 9856159 w 12192000"/>
              <a:gd name="connsiteY77" fmla="*/ 1125467 h 6858000"/>
              <a:gd name="connsiteX78" fmla="*/ 9794543 w 12192000"/>
              <a:gd name="connsiteY78" fmla="*/ 1104848 h 6858000"/>
              <a:gd name="connsiteX79" fmla="*/ 10300888 w 12192000"/>
              <a:gd name="connsiteY79" fmla="*/ 1103918 h 6858000"/>
              <a:gd name="connsiteX80" fmla="*/ 10173334 w 12192000"/>
              <a:gd name="connsiteY80" fmla="*/ 1224659 h 6858000"/>
              <a:gd name="connsiteX81" fmla="*/ 10300888 w 12192000"/>
              <a:gd name="connsiteY81" fmla="*/ 1345850 h 6858000"/>
              <a:gd name="connsiteX82" fmla="*/ 10428442 w 12192000"/>
              <a:gd name="connsiteY82" fmla="*/ 1224659 h 6858000"/>
              <a:gd name="connsiteX83" fmla="*/ 10300888 w 12192000"/>
              <a:gd name="connsiteY83" fmla="*/ 1103918 h 6858000"/>
              <a:gd name="connsiteX84" fmla="*/ 9340780 w 12192000"/>
              <a:gd name="connsiteY84" fmla="*/ 1103918 h 6858000"/>
              <a:gd name="connsiteX85" fmla="*/ 9211095 w 12192000"/>
              <a:gd name="connsiteY85" fmla="*/ 1226790 h 6858000"/>
              <a:gd name="connsiteX86" fmla="*/ 9337359 w 12192000"/>
              <a:gd name="connsiteY86" fmla="*/ 1345850 h 6858000"/>
              <a:gd name="connsiteX87" fmla="*/ 9461942 w 12192000"/>
              <a:gd name="connsiteY87" fmla="*/ 1271029 h 6858000"/>
              <a:gd name="connsiteX88" fmla="*/ 9376045 w 12192000"/>
              <a:gd name="connsiteY88" fmla="*/ 1271029 h 6858000"/>
              <a:gd name="connsiteX89" fmla="*/ 9342431 w 12192000"/>
              <a:gd name="connsiteY89" fmla="*/ 1289757 h 6858000"/>
              <a:gd name="connsiteX90" fmla="*/ 9300773 w 12192000"/>
              <a:gd name="connsiteY90" fmla="*/ 1244677 h 6858000"/>
              <a:gd name="connsiteX91" fmla="*/ 9469144 w 12192000"/>
              <a:gd name="connsiteY91" fmla="*/ 1244677 h 6858000"/>
              <a:gd name="connsiteX92" fmla="*/ 9469144 w 12192000"/>
              <a:gd name="connsiteY92" fmla="*/ 1239155 h 6858000"/>
              <a:gd name="connsiteX93" fmla="*/ 9340720 w 12192000"/>
              <a:gd name="connsiteY93" fmla="*/ 1103948 h 6858000"/>
              <a:gd name="connsiteX94" fmla="*/ 10936558 w 12192000"/>
              <a:gd name="connsiteY94" fmla="*/ 1103888 h 6858000"/>
              <a:gd name="connsiteX95" fmla="*/ 10806873 w 12192000"/>
              <a:gd name="connsiteY95" fmla="*/ 1226760 h 6858000"/>
              <a:gd name="connsiteX96" fmla="*/ 10933136 w 12192000"/>
              <a:gd name="connsiteY96" fmla="*/ 1345821 h 6858000"/>
              <a:gd name="connsiteX97" fmla="*/ 11057719 w 12192000"/>
              <a:gd name="connsiteY97" fmla="*/ 1270999 h 6858000"/>
              <a:gd name="connsiteX98" fmla="*/ 10971823 w 12192000"/>
              <a:gd name="connsiteY98" fmla="*/ 1270999 h 6858000"/>
              <a:gd name="connsiteX99" fmla="*/ 10938209 w 12192000"/>
              <a:gd name="connsiteY99" fmla="*/ 1289727 h 6858000"/>
              <a:gd name="connsiteX100" fmla="*/ 10896551 w 12192000"/>
              <a:gd name="connsiteY100" fmla="*/ 1244648 h 6858000"/>
              <a:gd name="connsiteX101" fmla="*/ 11064922 w 12192000"/>
              <a:gd name="connsiteY101" fmla="*/ 1244648 h 6858000"/>
              <a:gd name="connsiteX102" fmla="*/ 11064922 w 12192000"/>
              <a:gd name="connsiteY102" fmla="*/ 1239125 h 6858000"/>
              <a:gd name="connsiteX103" fmla="*/ 10936498 w 12192000"/>
              <a:gd name="connsiteY103" fmla="*/ 1103918 h 6858000"/>
              <a:gd name="connsiteX104" fmla="*/ 11328404 w 12192000"/>
              <a:gd name="connsiteY104" fmla="*/ 1029276 h 6858000"/>
              <a:gd name="connsiteX105" fmla="*/ 11320841 w 12192000"/>
              <a:gd name="connsiteY105" fmla="*/ 1036839 h 6858000"/>
              <a:gd name="connsiteX106" fmla="*/ 11320841 w 12192000"/>
              <a:gd name="connsiteY106" fmla="*/ 1092843 h 6858000"/>
              <a:gd name="connsiteX107" fmla="*/ 11328404 w 12192000"/>
              <a:gd name="connsiteY107" fmla="*/ 1100436 h 6858000"/>
              <a:gd name="connsiteX108" fmla="*/ 11384288 w 12192000"/>
              <a:gd name="connsiteY108" fmla="*/ 1100436 h 6858000"/>
              <a:gd name="connsiteX109" fmla="*/ 11391881 w 12192000"/>
              <a:gd name="connsiteY109" fmla="*/ 1092873 h 6858000"/>
              <a:gd name="connsiteX110" fmla="*/ 11391881 w 12192000"/>
              <a:gd name="connsiteY110" fmla="*/ 1036839 h 6858000"/>
              <a:gd name="connsiteX111" fmla="*/ 11384288 w 12192000"/>
              <a:gd name="connsiteY111" fmla="*/ 1029276 h 6858000"/>
              <a:gd name="connsiteX112" fmla="*/ 11429547 w 12192000"/>
              <a:gd name="connsiteY112" fmla="*/ 1029246 h 6858000"/>
              <a:gd name="connsiteX113" fmla="*/ 11421954 w 12192000"/>
              <a:gd name="connsiteY113" fmla="*/ 1036809 h 6858000"/>
              <a:gd name="connsiteX114" fmla="*/ 11421954 w 12192000"/>
              <a:gd name="connsiteY114" fmla="*/ 1163973 h 6858000"/>
              <a:gd name="connsiteX115" fmla="*/ 11429547 w 12192000"/>
              <a:gd name="connsiteY115" fmla="*/ 1171566 h 6858000"/>
              <a:gd name="connsiteX116" fmla="*/ 11556681 w 12192000"/>
              <a:gd name="connsiteY116" fmla="*/ 1171566 h 6858000"/>
              <a:gd name="connsiteX117" fmla="*/ 11564244 w 12192000"/>
              <a:gd name="connsiteY117" fmla="*/ 1163973 h 6858000"/>
              <a:gd name="connsiteX118" fmla="*/ 11564244 w 12192000"/>
              <a:gd name="connsiteY118" fmla="*/ 1036809 h 6858000"/>
              <a:gd name="connsiteX119" fmla="*/ 11556681 w 12192000"/>
              <a:gd name="connsiteY119" fmla="*/ 1029246 h 6858000"/>
              <a:gd name="connsiteX120" fmla="*/ 11257184 w 12192000"/>
              <a:gd name="connsiteY120" fmla="*/ 856823 h 6858000"/>
              <a:gd name="connsiteX121" fmla="*/ 11249591 w 12192000"/>
              <a:gd name="connsiteY121" fmla="*/ 864416 h 6858000"/>
              <a:gd name="connsiteX122" fmla="*/ 11249591 w 12192000"/>
              <a:gd name="connsiteY122" fmla="*/ 991550 h 6858000"/>
              <a:gd name="connsiteX123" fmla="*/ 11257184 w 12192000"/>
              <a:gd name="connsiteY123" fmla="*/ 999143 h 6858000"/>
              <a:gd name="connsiteX124" fmla="*/ 11384318 w 12192000"/>
              <a:gd name="connsiteY124" fmla="*/ 999143 h 6858000"/>
              <a:gd name="connsiteX125" fmla="*/ 11391911 w 12192000"/>
              <a:gd name="connsiteY125" fmla="*/ 991550 h 6858000"/>
              <a:gd name="connsiteX126" fmla="*/ 11391911 w 12192000"/>
              <a:gd name="connsiteY126" fmla="*/ 864416 h 6858000"/>
              <a:gd name="connsiteX127" fmla="*/ 11384318 w 12192000"/>
              <a:gd name="connsiteY127" fmla="*/ 856823 h 6858000"/>
              <a:gd name="connsiteX128" fmla="*/ 11429457 w 12192000"/>
              <a:gd name="connsiteY128" fmla="*/ 767925 h 6858000"/>
              <a:gd name="connsiteX129" fmla="*/ 11421864 w 12192000"/>
              <a:gd name="connsiteY129" fmla="*/ 775518 h 6858000"/>
              <a:gd name="connsiteX130" fmla="*/ 11421924 w 12192000"/>
              <a:gd name="connsiteY130" fmla="*/ 991550 h 6858000"/>
              <a:gd name="connsiteX131" fmla="*/ 11429517 w 12192000"/>
              <a:gd name="connsiteY131" fmla="*/ 999143 h 6858000"/>
              <a:gd name="connsiteX132" fmla="*/ 11645609 w 12192000"/>
              <a:gd name="connsiteY132" fmla="*/ 999143 h 6858000"/>
              <a:gd name="connsiteX133" fmla="*/ 11653202 w 12192000"/>
              <a:gd name="connsiteY133" fmla="*/ 991550 h 6858000"/>
              <a:gd name="connsiteX134" fmla="*/ 11653202 w 12192000"/>
              <a:gd name="connsiteY134" fmla="*/ 883564 h 6858000"/>
              <a:gd name="connsiteX135" fmla="*/ 11537533 w 12192000"/>
              <a:gd name="connsiteY135" fmla="*/ 767925 h 6858000"/>
              <a:gd name="connsiteX136" fmla="*/ 4860000 w 12192000"/>
              <a:gd name="connsiteY136" fmla="*/ 0 h 6858000"/>
              <a:gd name="connsiteX137" fmla="*/ 12192000 w 12192000"/>
              <a:gd name="connsiteY137" fmla="*/ 0 h 6858000"/>
              <a:gd name="connsiteX138" fmla="*/ 12192000 w 12192000"/>
              <a:gd name="connsiteY138" fmla="*/ 6858000 h 6858000"/>
              <a:gd name="connsiteX139" fmla="*/ 0 w 12192000"/>
              <a:gd name="connsiteY139" fmla="*/ 6858000 h 6858000"/>
              <a:gd name="connsiteX140" fmla="*/ 0 w 12192000"/>
              <a:gd name="connsiteY140" fmla="*/ 4644000 h 6858000"/>
              <a:gd name="connsiteX141" fmla="*/ 4860000 w 12192000"/>
              <a:gd name="connsiteY141" fmla="*/ 4644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2192000" h="6858000">
                <a:moveTo>
                  <a:pt x="10034885" y="1173187"/>
                </a:moveTo>
                <a:cubicBezTo>
                  <a:pt x="10059556" y="1173187"/>
                  <a:pt x="10071020" y="1190204"/>
                  <a:pt x="10071020" y="1225500"/>
                </a:cubicBezTo>
                <a:cubicBezTo>
                  <a:pt x="10071020" y="1260795"/>
                  <a:pt x="10058265" y="1276551"/>
                  <a:pt x="10034015" y="1276551"/>
                </a:cubicBezTo>
                <a:cubicBezTo>
                  <a:pt x="10009374" y="1276551"/>
                  <a:pt x="9997039" y="1259534"/>
                  <a:pt x="9997039" y="1225500"/>
                </a:cubicBezTo>
                <a:cubicBezTo>
                  <a:pt x="9997039" y="1189784"/>
                  <a:pt x="10008084" y="1173187"/>
                  <a:pt x="10034885" y="1173187"/>
                </a:cubicBezTo>
                <a:close/>
                <a:moveTo>
                  <a:pt x="10300888" y="1166404"/>
                </a:moveTo>
                <a:cubicBezTo>
                  <a:pt x="10328110" y="1166404"/>
                  <a:pt x="10338314" y="1184712"/>
                  <a:pt x="10338314" y="1224659"/>
                </a:cubicBezTo>
                <a:cubicBezTo>
                  <a:pt x="10338314" y="1264606"/>
                  <a:pt x="10328110" y="1283334"/>
                  <a:pt x="10300888" y="1283334"/>
                </a:cubicBezTo>
                <a:cubicBezTo>
                  <a:pt x="10273666" y="1283334"/>
                  <a:pt x="10263882" y="1264636"/>
                  <a:pt x="10263882" y="1224659"/>
                </a:cubicBezTo>
                <a:cubicBezTo>
                  <a:pt x="10263882" y="1184682"/>
                  <a:pt x="10273666" y="1166404"/>
                  <a:pt x="10300888" y="1166404"/>
                </a:cubicBezTo>
                <a:close/>
                <a:moveTo>
                  <a:pt x="9339940" y="1157461"/>
                </a:moveTo>
                <a:cubicBezTo>
                  <a:pt x="9365451" y="1157461"/>
                  <a:pt x="9379046" y="1171506"/>
                  <a:pt x="9380757" y="1199568"/>
                </a:cubicBezTo>
                <a:lnTo>
                  <a:pt x="9300833" y="1199568"/>
                </a:lnTo>
                <a:cubicBezTo>
                  <a:pt x="9302064" y="1172797"/>
                  <a:pt x="9316560" y="1157461"/>
                  <a:pt x="9339940" y="1157461"/>
                </a:cubicBezTo>
                <a:close/>
                <a:moveTo>
                  <a:pt x="10935718" y="1157431"/>
                </a:moveTo>
                <a:cubicBezTo>
                  <a:pt x="10961228" y="1157431"/>
                  <a:pt x="10974824" y="1171477"/>
                  <a:pt x="10976535" y="1199538"/>
                </a:cubicBezTo>
                <a:lnTo>
                  <a:pt x="10896611" y="1199538"/>
                </a:lnTo>
                <a:cubicBezTo>
                  <a:pt x="10897842" y="1172767"/>
                  <a:pt x="10912338" y="1157431"/>
                  <a:pt x="10935718" y="1157431"/>
                </a:cubicBezTo>
                <a:close/>
                <a:moveTo>
                  <a:pt x="10423850" y="1111961"/>
                </a:moveTo>
                <a:lnTo>
                  <a:pt x="10498282" y="1337777"/>
                </a:lnTo>
                <a:lnTo>
                  <a:pt x="10586279" y="1337777"/>
                </a:lnTo>
                <a:lnTo>
                  <a:pt x="10619053" y="1207222"/>
                </a:lnTo>
                <a:lnTo>
                  <a:pt x="10651767" y="1337777"/>
                </a:lnTo>
                <a:lnTo>
                  <a:pt x="10739794" y="1337777"/>
                </a:lnTo>
                <a:lnTo>
                  <a:pt x="10810774" y="1111961"/>
                </a:lnTo>
                <a:lnTo>
                  <a:pt x="10725358" y="1111961"/>
                </a:lnTo>
                <a:lnTo>
                  <a:pt x="10691774" y="1249750"/>
                </a:lnTo>
                <a:lnTo>
                  <a:pt x="10656899" y="1111961"/>
                </a:lnTo>
                <a:lnTo>
                  <a:pt x="10581207" y="1111961"/>
                </a:lnTo>
                <a:lnTo>
                  <a:pt x="10546332" y="1249750"/>
                </a:lnTo>
                <a:lnTo>
                  <a:pt x="10512718" y="1111961"/>
                </a:lnTo>
                <a:close/>
                <a:moveTo>
                  <a:pt x="10062497" y="1106019"/>
                </a:moveTo>
                <a:cubicBezTo>
                  <a:pt x="10030203" y="1106019"/>
                  <a:pt x="10007243" y="1116643"/>
                  <a:pt x="9989386" y="1140894"/>
                </a:cubicBezTo>
                <a:lnTo>
                  <a:pt x="9989386" y="1111961"/>
                </a:lnTo>
                <a:lnTo>
                  <a:pt x="9909882" y="1111961"/>
                </a:lnTo>
                <a:lnTo>
                  <a:pt x="9909882" y="1428325"/>
                </a:lnTo>
                <a:lnTo>
                  <a:pt x="9997039" y="1428325"/>
                </a:lnTo>
                <a:lnTo>
                  <a:pt x="9997039" y="1316498"/>
                </a:lnTo>
                <a:cubicBezTo>
                  <a:pt x="10012766" y="1336486"/>
                  <a:pt x="10033174" y="1345400"/>
                  <a:pt x="10060816" y="1345400"/>
                </a:cubicBezTo>
                <a:cubicBezTo>
                  <a:pt x="10121202" y="1345400"/>
                  <a:pt x="10160758" y="1299031"/>
                  <a:pt x="10160758" y="1225500"/>
                </a:cubicBezTo>
                <a:cubicBezTo>
                  <a:pt x="10160758" y="1151968"/>
                  <a:pt x="10119941" y="1106019"/>
                  <a:pt x="10062526" y="1106019"/>
                </a:cubicBezTo>
                <a:close/>
                <a:moveTo>
                  <a:pt x="11241367" y="1105989"/>
                </a:moveTo>
                <a:cubicBezTo>
                  <a:pt x="11204782" y="1105989"/>
                  <a:pt x="11183113" y="1120005"/>
                  <a:pt x="11171197" y="1153199"/>
                </a:cubicBezTo>
                <a:lnTo>
                  <a:pt x="11171197" y="1111931"/>
                </a:lnTo>
                <a:lnTo>
                  <a:pt x="11088272" y="1111931"/>
                </a:lnTo>
                <a:lnTo>
                  <a:pt x="11088272" y="1337747"/>
                </a:lnTo>
                <a:lnTo>
                  <a:pt x="11178401" y="1337747"/>
                </a:lnTo>
                <a:lnTo>
                  <a:pt x="11178401" y="1245068"/>
                </a:lnTo>
                <a:cubicBezTo>
                  <a:pt x="11178401" y="1210193"/>
                  <a:pt x="11194998" y="1194436"/>
                  <a:pt x="11231133" y="1194436"/>
                </a:cubicBezTo>
                <a:cubicBezTo>
                  <a:pt x="11236655" y="1194436"/>
                  <a:pt x="11242628" y="1194887"/>
                  <a:pt x="11249441" y="1195727"/>
                </a:cubicBezTo>
                <a:lnTo>
                  <a:pt x="11249441" y="1105989"/>
                </a:lnTo>
                <a:close/>
                <a:moveTo>
                  <a:pt x="9794543" y="1104818"/>
                </a:moveTo>
                <a:cubicBezTo>
                  <a:pt x="9778276" y="1104818"/>
                  <a:pt x="9763660" y="1108030"/>
                  <a:pt x="9750724" y="1114392"/>
                </a:cubicBezTo>
                <a:cubicBezTo>
                  <a:pt x="9737759" y="1120785"/>
                  <a:pt x="9725844" y="1130779"/>
                  <a:pt x="9714949" y="1144375"/>
                </a:cubicBezTo>
                <a:cubicBezTo>
                  <a:pt x="9706545" y="1130779"/>
                  <a:pt x="9697002" y="1120845"/>
                  <a:pt x="9686317" y="1114602"/>
                </a:cubicBezTo>
                <a:cubicBezTo>
                  <a:pt x="9675632" y="1108360"/>
                  <a:pt x="9662907" y="1105238"/>
                  <a:pt x="9648171" y="1105238"/>
                </a:cubicBezTo>
                <a:cubicBezTo>
                  <a:pt x="9632054" y="1105238"/>
                  <a:pt x="9617768" y="1108420"/>
                  <a:pt x="9605372" y="1114813"/>
                </a:cubicBezTo>
                <a:cubicBezTo>
                  <a:pt x="9592977" y="1121205"/>
                  <a:pt x="9581812" y="1131049"/>
                  <a:pt x="9571878" y="1144405"/>
                </a:cubicBezTo>
                <a:lnTo>
                  <a:pt x="9571878" y="1111301"/>
                </a:lnTo>
                <a:lnTo>
                  <a:pt x="9490634" y="1111301"/>
                </a:lnTo>
                <a:lnTo>
                  <a:pt x="9490634" y="1337777"/>
                </a:lnTo>
                <a:lnTo>
                  <a:pt x="9578721" y="1337777"/>
                </a:lnTo>
                <a:lnTo>
                  <a:pt x="9578721" y="1216105"/>
                </a:lnTo>
                <a:cubicBezTo>
                  <a:pt x="9578721" y="1203050"/>
                  <a:pt x="9581302" y="1193116"/>
                  <a:pt x="9586464" y="1186303"/>
                </a:cubicBezTo>
                <a:cubicBezTo>
                  <a:pt x="9591627" y="1179490"/>
                  <a:pt x="9599190" y="1176098"/>
                  <a:pt x="9609094" y="1176098"/>
                </a:cubicBezTo>
                <a:cubicBezTo>
                  <a:pt x="9620259" y="1176098"/>
                  <a:pt x="9628272" y="1179460"/>
                  <a:pt x="9633164" y="1186213"/>
                </a:cubicBezTo>
                <a:cubicBezTo>
                  <a:pt x="9638056" y="1192966"/>
                  <a:pt x="9640517" y="1204100"/>
                  <a:pt x="9640517" y="1219647"/>
                </a:cubicBezTo>
                <a:lnTo>
                  <a:pt x="9640517" y="1337777"/>
                </a:lnTo>
                <a:lnTo>
                  <a:pt x="9728184" y="1337777"/>
                </a:lnTo>
                <a:lnTo>
                  <a:pt x="9728184" y="1217366"/>
                </a:lnTo>
                <a:cubicBezTo>
                  <a:pt x="9728184" y="1203200"/>
                  <a:pt x="9730736" y="1192786"/>
                  <a:pt x="9735838" y="1186123"/>
                </a:cubicBezTo>
                <a:cubicBezTo>
                  <a:pt x="9740940" y="1179460"/>
                  <a:pt x="9748923" y="1176098"/>
                  <a:pt x="9759818" y="1176098"/>
                </a:cubicBezTo>
                <a:cubicBezTo>
                  <a:pt x="9770713" y="1176098"/>
                  <a:pt x="9778126" y="1179310"/>
                  <a:pt x="9782868" y="1185703"/>
                </a:cubicBezTo>
                <a:cubicBezTo>
                  <a:pt x="9787610" y="1192095"/>
                  <a:pt x="9790011" y="1202360"/>
                  <a:pt x="9790011" y="1216526"/>
                </a:cubicBezTo>
                <a:lnTo>
                  <a:pt x="9790011" y="1337777"/>
                </a:lnTo>
                <a:lnTo>
                  <a:pt x="9878068" y="1337777"/>
                </a:lnTo>
                <a:lnTo>
                  <a:pt x="9878068" y="1183392"/>
                </a:lnTo>
                <a:cubicBezTo>
                  <a:pt x="9878068" y="1158541"/>
                  <a:pt x="9870775" y="1139213"/>
                  <a:pt x="9856159" y="1125467"/>
                </a:cubicBezTo>
                <a:cubicBezTo>
                  <a:pt x="9841543" y="1111721"/>
                  <a:pt x="9821014" y="1104848"/>
                  <a:pt x="9794543" y="1104848"/>
                </a:cubicBezTo>
                <a:close/>
                <a:moveTo>
                  <a:pt x="10300888" y="1103918"/>
                </a:moveTo>
                <a:cubicBezTo>
                  <a:pt x="10221384" y="1103918"/>
                  <a:pt x="10173334" y="1149807"/>
                  <a:pt x="10173334" y="1224659"/>
                </a:cubicBezTo>
                <a:cubicBezTo>
                  <a:pt x="10173334" y="1299511"/>
                  <a:pt x="10221384" y="1345850"/>
                  <a:pt x="10300888" y="1345850"/>
                </a:cubicBezTo>
                <a:cubicBezTo>
                  <a:pt x="10380392" y="1345850"/>
                  <a:pt x="10428442" y="1299511"/>
                  <a:pt x="10428442" y="1224659"/>
                </a:cubicBezTo>
                <a:cubicBezTo>
                  <a:pt x="10428442" y="1149807"/>
                  <a:pt x="10380392" y="1103918"/>
                  <a:pt x="10300888" y="1103918"/>
                </a:cubicBezTo>
                <a:close/>
                <a:moveTo>
                  <a:pt x="9340780" y="1103918"/>
                </a:moveTo>
                <a:cubicBezTo>
                  <a:pt x="9260436" y="1103918"/>
                  <a:pt x="9211095" y="1151098"/>
                  <a:pt x="9211095" y="1226790"/>
                </a:cubicBezTo>
                <a:cubicBezTo>
                  <a:pt x="9211095" y="1302482"/>
                  <a:pt x="9259145" y="1345850"/>
                  <a:pt x="9337359" y="1345850"/>
                </a:cubicBezTo>
                <a:cubicBezTo>
                  <a:pt x="9407108" y="1345850"/>
                  <a:pt x="9449636" y="1319919"/>
                  <a:pt x="9461942" y="1271029"/>
                </a:cubicBezTo>
                <a:lnTo>
                  <a:pt x="9376045" y="1271029"/>
                </a:lnTo>
                <a:cubicBezTo>
                  <a:pt x="9371783" y="1282944"/>
                  <a:pt x="9359898" y="1289757"/>
                  <a:pt x="9342431" y="1289757"/>
                </a:cubicBezTo>
                <a:cubicBezTo>
                  <a:pt x="9316500" y="1289757"/>
                  <a:pt x="9301613" y="1273610"/>
                  <a:pt x="9300773" y="1244677"/>
                </a:cubicBezTo>
                <a:lnTo>
                  <a:pt x="9469144" y="1244677"/>
                </a:lnTo>
                <a:lnTo>
                  <a:pt x="9469144" y="1239155"/>
                </a:lnTo>
                <a:cubicBezTo>
                  <a:pt x="9469144" y="1154099"/>
                  <a:pt x="9420674" y="1103948"/>
                  <a:pt x="9340720" y="1103948"/>
                </a:cubicBezTo>
                <a:close/>
                <a:moveTo>
                  <a:pt x="10936558" y="1103888"/>
                </a:moveTo>
                <a:cubicBezTo>
                  <a:pt x="10856214" y="1103888"/>
                  <a:pt x="10806873" y="1151068"/>
                  <a:pt x="10806873" y="1226760"/>
                </a:cubicBezTo>
                <a:cubicBezTo>
                  <a:pt x="10806873" y="1302452"/>
                  <a:pt x="10854923" y="1345821"/>
                  <a:pt x="10933136" y="1345821"/>
                </a:cubicBezTo>
                <a:cubicBezTo>
                  <a:pt x="11002886" y="1345821"/>
                  <a:pt x="11045414" y="1319890"/>
                  <a:pt x="11057719" y="1270999"/>
                </a:cubicBezTo>
                <a:lnTo>
                  <a:pt x="10971823" y="1270999"/>
                </a:lnTo>
                <a:cubicBezTo>
                  <a:pt x="10967561" y="1282914"/>
                  <a:pt x="10955646" y="1289727"/>
                  <a:pt x="10938209" y="1289727"/>
                </a:cubicBezTo>
                <a:cubicBezTo>
                  <a:pt x="10912278" y="1289727"/>
                  <a:pt x="10897391" y="1273580"/>
                  <a:pt x="10896551" y="1244648"/>
                </a:cubicBezTo>
                <a:lnTo>
                  <a:pt x="11064922" y="1244648"/>
                </a:lnTo>
                <a:lnTo>
                  <a:pt x="11064922" y="1239125"/>
                </a:lnTo>
                <a:cubicBezTo>
                  <a:pt x="11064922" y="1154069"/>
                  <a:pt x="11016452" y="1103918"/>
                  <a:pt x="10936498" y="1103918"/>
                </a:cubicBezTo>
                <a:close/>
                <a:moveTo>
                  <a:pt x="11328404" y="1029276"/>
                </a:moveTo>
                <a:lnTo>
                  <a:pt x="11320841" y="1036839"/>
                </a:lnTo>
                <a:lnTo>
                  <a:pt x="11320841" y="1092843"/>
                </a:lnTo>
                <a:lnTo>
                  <a:pt x="11328404" y="1100436"/>
                </a:lnTo>
                <a:lnTo>
                  <a:pt x="11384288" y="1100436"/>
                </a:lnTo>
                <a:lnTo>
                  <a:pt x="11391881" y="1092873"/>
                </a:lnTo>
                <a:lnTo>
                  <a:pt x="11391881" y="1036839"/>
                </a:lnTo>
                <a:lnTo>
                  <a:pt x="11384288" y="1029276"/>
                </a:lnTo>
                <a:close/>
                <a:moveTo>
                  <a:pt x="11429547" y="1029246"/>
                </a:moveTo>
                <a:lnTo>
                  <a:pt x="11421954" y="1036809"/>
                </a:lnTo>
                <a:lnTo>
                  <a:pt x="11421954" y="1163973"/>
                </a:lnTo>
                <a:lnTo>
                  <a:pt x="11429547" y="1171566"/>
                </a:lnTo>
                <a:lnTo>
                  <a:pt x="11556681" y="1171566"/>
                </a:lnTo>
                <a:lnTo>
                  <a:pt x="11564244" y="1163973"/>
                </a:lnTo>
                <a:lnTo>
                  <a:pt x="11564244" y="1036809"/>
                </a:lnTo>
                <a:lnTo>
                  <a:pt x="11556681" y="1029246"/>
                </a:lnTo>
                <a:close/>
                <a:moveTo>
                  <a:pt x="11257184" y="856823"/>
                </a:moveTo>
                <a:lnTo>
                  <a:pt x="11249591" y="864416"/>
                </a:lnTo>
                <a:lnTo>
                  <a:pt x="11249591" y="991550"/>
                </a:lnTo>
                <a:lnTo>
                  <a:pt x="11257184" y="999143"/>
                </a:lnTo>
                <a:lnTo>
                  <a:pt x="11384318" y="999143"/>
                </a:lnTo>
                <a:lnTo>
                  <a:pt x="11391911" y="991550"/>
                </a:lnTo>
                <a:lnTo>
                  <a:pt x="11391911" y="864416"/>
                </a:lnTo>
                <a:lnTo>
                  <a:pt x="11384318" y="856823"/>
                </a:lnTo>
                <a:close/>
                <a:moveTo>
                  <a:pt x="11429457" y="767925"/>
                </a:moveTo>
                <a:lnTo>
                  <a:pt x="11421864" y="775518"/>
                </a:lnTo>
                <a:lnTo>
                  <a:pt x="11421924" y="991550"/>
                </a:lnTo>
                <a:lnTo>
                  <a:pt x="11429517" y="999143"/>
                </a:lnTo>
                <a:lnTo>
                  <a:pt x="11645609" y="999143"/>
                </a:lnTo>
                <a:lnTo>
                  <a:pt x="11653202" y="991550"/>
                </a:lnTo>
                <a:lnTo>
                  <a:pt x="11653202" y="883564"/>
                </a:lnTo>
                <a:lnTo>
                  <a:pt x="11537533" y="767925"/>
                </a:lnTo>
                <a:close/>
                <a:moveTo>
                  <a:pt x="4860000" y="0"/>
                </a:moveTo>
                <a:lnTo>
                  <a:pt x="12192000" y="0"/>
                </a:lnTo>
                <a:lnTo>
                  <a:pt x="12192000" y="6858000"/>
                </a:lnTo>
                <a:lnTo>
                  <a:pt x="0" y="6858000"/>
                </a:lnTo>
                <a:lnTo>
                  <a:pt x="0" y="4644000"/>
                </a:lnTo>
                <a:lnTo>
                  <a:pt x="4860000" y="4644000"/>
                </a:lnTo>
                <a:close/>
              </a:path>
            </a:pathLst>
          </a:custGeom>
        </p:spPr>
        <p:txBody>
          <a:bodyPr wrap="square">
            <a:noAutofit/>
          </a:bodyPr>
          <a:lstStyle>
            <a:lvl1pPr algn="ctr">
              <a:defRPr/>
            </a:lvl1pPr>
          </a:lstStyle>
          <a:p>
            <a:r>
              <a:rPr lang="en-US"/>
              <a:t>Click icon to add picture</a:t>
            </a:r>
            <a:endParaRPr lang="en-GB"/>
          </a:p>
        </p:txBody>
      </p:sp>
      <p:sp>
        <p:nvSpPr>
          <p:cNvPr id="9" name="Subtitle">
            <a:extLst>
              <a:ext uri="{FF2B5EF4-FFF2-40B4-BE49-F238E27FC236}">
                <a16:creationId xmlns:a16="http://schemas.microsoft.com/office/drawing/2014/main" id="{8ADB95D0-F1C8-516C-6D3E-5C2A67CD6FA3}"/>
              </a:ext>
            </a:extLst>
          </p:cNvPr>
          <p:cNvSpPr>
            <a:spLocks noGrp="1"/>
          </p:cNvSpPr>
          <p:nvPr>
            <p:ph type="subTitle" idx="1" hasCustomPrompt="1"/>
          </p:nvPr>
        </p:nvSpPr>
        <p:spPr>
          <a:xfrm>
            <a:off x="550800" y="3061072"/>
            <a:ext cx="3454400" cy="1016000"/>
          </a:xfrm>
          <a:prstGeom prst="rect">
            <a:avLst/>
          </a:prstGeom>
        </p:spPr>
        <p:txBody>
          <a:bodyPr anchor="t"/>
          <a:lstStyle>
            <a:lvl1pPr marL="0" indent="0" algn="l" defTabSz="203200" rtl="0" eaLnBrk="1" latinLnBrk="0" hangingPunct="1">
              <a:lnSpc>
                <a:spcPct val="90000"/>
              </a:lnSpc>
              <a:spcBef>
                <a:spcPct val="0"/>
              </a:spcBef>
              <a:spcAft>
                <a:spcPts val="600"/>
              </a:spcAft>
              <a:buFontTx/>
              <a:buNone/>
              <a:defRPr lang="en-US" sz="2400" kern="1200" baseline="0">
                <a:solidFill>
                  <a:schemeClr val="bg1"/>
                </a:solidFill>
                <a:latin typeface="+mn-lt"/>
                <a:ea typeface="+mn-ea"/>
                <a:cs typeface="+mn-cs"/>
              </a:defRPr>
            </a:lvl1pPr>
            <a:lvl2pPr marL="0" indent="0" algn="l">
              <a:lnSpc>
                <a:spcPct val="100000"/>
              </a:lnSpc>
              <a:spcBef>
                <a:spcPct val="0"/>
              </a:spcBef>
              <a:buNone/>
              <a:defRPr sz="14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a:t>
            </a:r>
            <a:br>
              <a:rPr lang="en-US"/>
            </a:br>
            <a:r>
              <a:rPr lang="en-US"/>
              <a:t>subtitle style</a:t>
            </a:r>
          </a:p>
        </p:txBody>
      </p:sp>
      <p:sp>
        <p:nvSpPr>
          <p:cNvPr id="7" name="Title">
            <a:extLst>
              <a:ext uri="{FF2B5EF4-FFF2-40B4-BE49-F238E27FC236}">
                <a16:creationId xmlns:a16="http://schemas.microsoft.com/office/drawing/2014/main" id="{4DD6E394-341A-C7EB-4850-A929E45D2FD5}"/>
              </a:ext>
            </a:extLst>
          </p:cNvPr>
          <p:cNvSpPr>
            <a:spLocks noGrp="1"/>
          </p:cNvSpPr>
          <p:nvPr>
            <p:ph type="title"/>
          </p:nvPr>
        </p:nvSpPr>
        <p:spPr>
          <a:xfrm>
            <a:off x="550800" y="838824"/>
            <a:ext cx="3454400" cy="2123658"/>
          </a:xfrm>
          <a:custGeom>
            <a:avLst/>
            <a:gdLst>
              <a:gd name="connsiteX0" fmla="*/ 0 w 8164842"/>
              <a:gd name="connsiteY0" fmla="*/ 0 h 1944775"/>
              <a:gd name="connsiteX1" fmla="*/ 8164842 w 8164842"/>
              <a:gd name="connsiteY1" fmla="*/ 0 h 1944775"/>
              <a:gd name="connsiteX2" fmla="*/ 8164842 w 8164842"/>
              <a:gd name="connsiteY2" fmla="*/ 1944775 h 1944775"/>
              <a:gd name="connsiteX3" fmla="*/ 0 w 8164842"/>
              <a:gd name="connsiteY3" fmla="*/ 1944775 h 1944775"/>
            </a:gdLst>
            <a:ahLst/>
            <a:cxnLst>
              <a:cxn ang="0">
                <a:pos x="connsiteX0" y="connsiteY0"/>
              </a:cxn>
              <a:cxn ang="0">
                <a:pos x="connsiteX1" y="connsiteY1"/>
              </a:cxn>
              <a:cxn ang="0">
                <a:pos x="connsiteX2" y="connsiteY2"/>
              </a:cxn>
              <a:cxn ang="0">
                <a:pos x="connsiteX3" y="connsiteY3"/>
              </a:cxn>
            </a:cxnLst>
            <a:rect l="l" t="t" r="r" b="b"/>
            <a:pathLst>
              <a:path w="8164842" h="1944775">
                <a:moveTo>
                  <a:pt x="0" y="0"/>
                </a:moveTo>
                <a:lnTo>
                  <a:pt x="8164842" y="0"/>
                </a:lnTo>
                <a:lnTo>
                  <a:pt x="8164842" y="1944775"/>
                </a:lnTo>
                <a:lnTo>
                  <a:pt x="0" y="1944775"/>
                </a:lnTo>
                <a:close/>
              </a:path>
            </a:pathLst>
          </a:custGeom>
        </p:spPr>
        <p:txBody>
          <a:bodyPr vert="horz" wrap="square" lIns="0" tIns="0" rIns="0" bIns="0" rtlCol="0" anchor="t" anchorCtr="0">
            <a:noAutofit/>
          </a:bodyPr>
          <a:lstStyle>
            <a:lvl1pPr algn="l">
              <a:lnSpc>
                <a:spcPct val="100000"/>
              </a:lnSpc>
              <a:defRPr lang="de-DE" sz="4600" b="0" i="0" spc="0" baseline="0">
                <a:solidFill>
                  <a:schemeClr val="bg1"/>
                </a:solidFill>
                <a:latin typeface="+mj-lt"/>
                <a:cs typeface="Segoe UI Semilight" panose="020B0502040204020203" pitchFamily="34" charset="0"/>
              </a:defRPr>
            </a:lvl1pPr>
          </a:lstStyle>
          <a:p>
            <a:pPr lvl="0"/>
            <a:r>
              <a:rPr lang="en-US" noProof="0"/>
              <a:t>Click to edit Master title style</a:t>
            </a:r>
            <a:endParaRPr lang="de-DE" noProof="0"/>
          </a:p>
        </p:txBody>
      </p:sp>
    </p:spTree>
    <p:extLst>
      <p:ext uri="{BB962C8B-B14F-4D97-AF65-F5344CB8AC3E}">
        <p14:creationId xmlns:p14="http://schemas.microsoft.com/office/powerpoint/2010/main" val="4219280916"/>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creenshot 2">
    <p:spTree>
      <p:nvGrpSpPr>
        <p:cNvPr id="1" name=""/>
        <p:cNvGrpSpPr/>
        <p:nvPr/>
      </p:nvGrpSpPr>
      <p:grpSpPr>
        <a:xfrm>
          <a:off x="0" y="0"/>
          <a:ext cx="0" cy="0"/>
          <a:chOff x="0" y="0"/>
          <a:chExt cx="0" cy="0"/>
        </a:xfrm>
      </p:grpSpPr>
      <p:pic>
        <p:nvPicPr>
          <p:cNvPr id="4" name="Squiggle">
            <a:extLst>
              <a:ext uri="{FF2B5EF4-FFF2-40B4-BE49-F238E27FC236}">
                <a16:creationId xmlns:a16="http://schemas.microsoft.com/office/drawing/2014/main" id="{A28941CA-3513-CE83-4DDD-76D497F6DC39}"/>
              </a:ext>
            </a:extLst>
          </p:cNvPr>
          <p:cNvPicPr>
            <a:picLocks noChangeAspect="1"/>
          </p:cNvPicPr>
          <p:nvPr/>
        </p:nvPicPr>
        <p:blipFill>
          <a:blip r:embed="rId3"/>
          <a:srcRect l="36325" t="40861" r="22020" b="40196"/>
          <a:stretch>
            <a:fillRect/>
          </a:stretch>
        </p:blipFill>
        <p:spPr>
          <a:xfrm>
            <a:off x="-1" y="3207362"/>
            <a:ext cx="7754745" cy="3650638"/>
          </a:xfrm>
          <a:prstGeom prst="rect">
            <a:avLst/>
          </a:prstGeom>
        </p:spPr>
      </p:pic>
      <p:pic>
        <p:nvPicPr>
          <p:cNvPr id="2" name="Laptop">
            <a:extLst>
              <a:ext uri="{FF2B5EF4-FFF2-40B4-BE49-F238E27FC236}">
                <a16:creationId xmlns:a16="http://schemas.microsoft.com/office/drawing/2014/main" id="{673B24E1-9478-7908-545C-1867256DD121}"/>
              </a:ext>
            </a:extLst>
          </p:cNvPr>
          <p:cNvPicPr>
            <a:picLocks noChangeAspect="1"/>
          </p:cNvPicPr>
          <p:nvPr>
            <p:custDataLst>
              <p:tags r:id="rId1"/>
            </p:custDataLst>
          </p:nvPr>
        </p:nvPicPr>
        <p:blipFill>
          <a:blip r:embed="rId4" cstate="screen">
            <a:extLst>
              <a:ext uri="{28A0092B-C50C-407E-A947-70E740481C1C}">
                <a14:useLocalDpi xmlns:a14="http://schemas.microsoft.com/office/drawing/2010/main"/>
              </a:ext>
            </a:extLst>
          </a:blip>
          <a:srcRect l="5732" t="21192" r="5748" b="22148"/>
          <a:stretch>
            <a:fillRect/>
          </a:stretch>
        </p:blipFill>
        <p:spPr>
          <a:xfrm>
            <a:off x="203200" y="990600"/>
            <a:ext cx="7315199" cy="4682233"/>
          </a:xfrm>
          <a:prstGeom prst="rect">
            <a:avLst/>
          </a:prstGeom>
          <a:effectLst>
            <a:outerShdw blurRad="635000" dist="190500" dir="7200000" sx="105000" sy="105000" algn="tl" rotWithShape="0">
              <a:prstClr val="black">
                <a:alpha val="20000"/>
              </a:prstClr>
            </a:outerShdw>
          </a:effectLst>
        </p:spPr>
      </p:pic>
      <p:sp>
        <p:nvSpPr>
          <p:cNvPr id="12" name="Picture Placeholder 11">
            <a:extLst>
              <a:ext uri="{FF2B5EF4-FFF2-40B4-BE49-F238E27FC236}">
                <a16:creationId xmlns:a16="http://schemas.microsoft.com/office/drawing/2014/main" id="{C2A86130-EA91-646F-768A-204D64E295D0}"/>
              </a:ext>
            </a:extLst>
          </p:cNvPr>
          <p:cNvSpPr>
            <a:spLocks noGrp="1" noChangeAspect="1"/>
          </p:cNvSpPr>
          <p:nvPr>
            <p:ph type="pic" sz="quarter" idx="14"/>
          </p:nvPr>
        </p:nvSpPr>
        <p:spPr>
          <a:xfrm>
            <a:off x="1106493" y="1600200"/>
            <a:ext cx="5497507" cy="3454400"/>
          </a:xfrm>
          <a:prstGeom prst="rect">
            <a:avLst/>
          </a:prstGeom>
        </p:spPr>
        <p:txBody>
          <a:bodyPr anchor="ctr"/>
          <a:lstStyle>
            <a:lvl1pPr algn="ctr">
              <a:defRPr/>
            </a:lvl1pPr>
          </a:lstStyle>
          <a:p>
            <a:r>
              <a:rPr lang="en-US"/>
              <a:t>Click icon to add picture</a:t>
            </a:r>
          </a:p>
        </p:txBody>
      </p:sp>
      <p:sp>
        <p:nvSpPr>
          <p:cNvPr id="5" name="Title plus Content">
            <a:extLst>
              <a:ext uri="{FF2B5EF4-FFF2-40B4-BE49-F238E27FC236}">
                <a16:creationId xmlns:a16="http://schemas.microsoft.com/office/drawing/2014/main" id="{EB91291E-44FC-3004-CDB6-BCAC208DA459}"/>
              </a:ext>
            </a:extLst>
          </p:cNvPr>
          <p:cNvSpPr>
            <a:spLocks noGrp="1"/>
          </p:cNvSpPr>
          <p:nvPr>
            <p:ph type="body" sz="quarter" idx="18"/>
          </p:nvPr>
        </p:nvSpPr>
        <p:spPr>
          <a:xfrm>
            <a:off x="8185601" y="2052117"/>
            <a:ext cx="3454400" cy="2753767"/>
          </a:xfrm>
          <a:prstGeom prst="rect">
            <a:avLst/>
          </a:prstGeom>
        </p:spPr>
        <p:txBody>
          <a:bodyPr anchor="ctr">
            <a:spAutoFit/>
          </a:bodyPr>
          <a:lstStyle>
            <a:lvl1pPr algn="l" defTabSz="914400" rtl="0" eaLnBrk="1" latinLnBrk="0" hangingPunct="1">
              <a:lnSpc>
                <a:spcPct val="100000"/>
              </a:lnSpc>
              <a:spcBef>
                <a:spcPct val="0"/>
              </a:spcBef>
              <a:spcAft>
                <a:spcPts val="1200"/>
              </a:spcAft>
              <a:buNone/>
              <a:defRPr lang="en-GB" sz="4600" b="1" kern="1200">
                <a:solidFill>
                  <a:schemeClr val="tx2"/>
                </a:solidFill>
                <a:latin typeface="Segoe UI Semibold" panose="020B0502040204020203" pitchFamily="34" charset="0"/>
                <a:ea typeface="+mn-ea"/>
                <a:cs typeface="Segoe UI Semibold" panose="020B0502040204020203" pitchFamily="34" charset="0"/>
              </a:defRPr>
            </a:lvl1pPr>
            <a:lvl2pPr marL="0" indent="0" algn="l" defTabSz="1219170" rtl="0" eaLnBrk="1" fontAlgn="base" latinLnBrk="0" hangingPunct="1">
              <a:lnSpc>
                <a:spcPct val="130000"/>
              </a:lnSpc>
              <a:spcBef>
                <a:spcPts val="1200"/>
              </a:spcBef>
              <a:spcAft>
                <a:spcPts val="600"/>
              </a:spcAft>
              <a:buFont typeface="Arial" panose="020B0604020202020204" pitchFamily="34" charset="0"/>
              <a:buNone/>
              <a:defRPr lang="en-GB" sz="1800" b="0" i="0" kern="1200">
                <a:solidFill>
                  <a:schemeClr val="tx1"/>
                </a:solidFill>
                <a:latin typeface="Segoe UI Semilight" panose="020B0502040204020203" pitchFamily="34" charset="0"/>
                <a:ea typeface="+mn-ea"/>
                <a:cs typeface="Segoe UI Semilight" panose="020B0502040204020203" pitchFamily="34" charset="0"/>
              </a:defRPr>
            </a:lvl2pPr>
            <a:lvl3pPr marL="0" indent="0">
              <a:spcBef>
                <a:spcPts val="1200"/>
              </a:spcBef>
              <a:buClrTx/>
              <a:buFontTx/>
              <a:buNone/>
              <a:defRPr>
                <a:solidFill>
                  <a:schemeClr val="tx1"/>
                </a:solidFill>
              </a:defRPr>
            </a:lvl3pPr>
            <a:lvl4pPr marL="252000" indent="-252000">
              <a:spcBef>
                <a:spcPts val="1200"/>
              </a:spcBef>
              <a:buFont typeface="Wingdings" pitchFamily="2" charset="2"/>
              <a:buChar char="§"/>
              <a:defRPr>
                <a:solidFill>
                  <a:schemeClr val="tx1"/>
                </a:solidFill>
              </a:defRPr>
            </a:lvl4pPr>
            <a:lvl5pPr marL="537750" indent="-285750">
              <a:spcBef>
                <a:spcPct val="0"/>
              </a:spcBef>
              <a:buFont typeface="Symbol" panose="05050102010706020507" pitchFamily="18" charset="2"/>
              <a:buChar char=""/>
              <a:defRPr sz="1800" b="0" baseline="0">
                <a:solidFill>
                  <a:schemeClr val="tx1"/>
                </a:solidFill>
                <a:latin typeface="+mn-lt"/>
              </a:defRPr>
            </a:lvl5pPr>
            <a:lvl6pPr>
              <a:defRPr>
                <a:solidFill>
                  <a:schemeClr val="accent1"/>
                </a:solidFill>
              </a:defRPr>
            </a:lvl6pPr>
            <a:lvl7pPr marL="0" indent="0">
              <a:buFontTx/>
              <a:buNone/>
              <a:defRPr sz="2000">
                <a:solidFill>
                  <a:schemeClr val="accent2"/>
                </a:solidFill>
              </a:defRPr>
            </a:lvl7pPr>
            <a:lvl8pPr marL="0" indent="0">
              <a:buFontTx/>
              <a:buNone/>
              <a:defRPr sz="4600">
                <a:solidFill>
                  <a:schemeClr val="bg1"/>
                </a:solidFill>
                <a:latin typeface="+mj-lt"/>
              </a:defRPr>
            </a:lvl8pPr>
            <a:lvl9pPr>
              <a:defRPr>
                <a:solidFill>
                  <a:schemeClr val="accent2"/>
                </a:solidFill>
              </a:defRPr>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41131237"/>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re Valu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E4CD333-4BF8-EA4E-B7BF-D6560BAAA013}"/>
              </a:ext>
            </a:extLst>
          </p:cNvPr>
          <p:cNvSpPr>
            <a:spLocks noGrp="1"/>
          </p:cNvSpPr>
          <p:nvPr>
            <p:ph type="pic" sz="quarter" idx="17"/>
          </p:nvPr>
        </p:nvSpPr>
        <p:spPr>
          <a:xfrm>
            <a:off x="0" y="0"/>
            <a:ext cx="4906910" cy="6858000"/>
          </a:xfrm>
          <a:custGeom>
            <a:avLst/>
            <a:gdLst>
              <a:gd name="connsiteX0" fmla="*/ 0 w 9811264"/>
              <a:gd name="connsiteY0" fmla="*/ 0 h 13715999"/>
              <a:gd name="connsiteX1" fmla="*/ 5851617 w 9811264"/>
              <a:gd name="connsiteY1" fmla="*/ 0 h 13715999"/>
              <a:gd name="connsiteX2" fmla="*/ 5997745 w 9811264"/>
              <a:gd name="connsiteY2" fmla="*/ 84022 h 13715999"/>
              <a:gd name="connsiteX3" fmla="*/ 9811264 w 9811264"/>
              <a:gd name="connsiteY3" fmla="*/ 6857999 h 13715999"/>
              <a:gd name="connsiteX4" fmla="*/ 5997745 w 9811264"/>
              <a:gd name="connsiteY4" fmla="*/ 13631976 h 13715999"/>
              <a:gd name="connsiteX5" fmla="*/ 5851615 w 9811264"/>
              <a:gd name="connsiteY5" fmla="*/ 13715999 h 13715999"/>
              <a:gd name="connsiteX6" fmla="*/ 0 w 9811264"/>
              <a:gd name="connsiteY6" fmla="*/ 13715999 h 13715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11264" h="13715999">
                <a:moveTo>
                  <a:pt x="0" y="0"/>
                </a:moveTo>
                <a:lnTo>
                  <a:pt x="5851617" y="0"/>
                </a:lnTo>
                <a:lnTo>
                  <a:pt x="5997745" y="84022"/>
                </a:lnTo>
                <a:cubicBezTo>
                  <a:pt x="8284039" y="1473208"/>
                  <a:pt x="9811264" y="3987253"/>
                  <a:pt x="9811264" y="6857999"/>
                </a:cubicBezTo>
                <a:cubicBezTo>
                  <a:pt x="9811264" y="9728746"/>
                  <a:pt x="8284039" y="12242790"/>
                  <a:pt x="5997745" y="13631976"/>
                </a:cubicBezTo>
                <a:lnTo>
                  <a:pt x="5851615" y="13715999"/>
                </a:lnTo>
                <a:lnTo>
                  <a:pt x="0" y="13715999"/>
                </a:lnTo>
                <a:close/>
              </a:path>
            </a:pathLst>
          </a:custGeom>
          <a:solidFill>
            <a:srgbClr val="EDFCFF"/>
          </a:solidFill>
          <a:effectLst/>
        </p:spPr>
        <p:txBody>
          <a:bodyPr wrap="square">
            <a:noAutofit/>
          </a:bodyPr>
          <a:lstStyle>
            <a:lvl1pPr marL="0" indent="0">
              <a:buNone/>
              <a:defRPr sz="1300" b="1" i="0">
                <a:ln>
                  <a:noFill/>
                </a:ln>
                <a:solidFill>
                  <a:schemeClr val="bg1">
                    <a:lumMod val="85000"/>
                  </a:schemeClr>
                </a:solidFill>
                <a:latin typeface="Nunito Sans SemiBold" pitchFamily="2" charset="77"/>
                <a:ea typeface="Source Sans Pro Light" panose="020B0403030403020204" pitchFamily="34" charset="0"/>
                <a:cs typeface="Noto Sans Light" panose="020B0402040504020204" pitchFamily="34" charset="0"/>
              </a:defRPr>
            </a:lvl1pPr>
          </a:lstStyle>
          <a:p>
            <a:r>
              <a:rPr lang="en-US"/>
              <a:t>Click icon to add picture</a:t>
            </a:r>
          </a:p>
        </p:txBody>
      </p:sp>
      <p:sp>
        <p:nvSpPr>
          <p:cNvPr id="5" name="Title Plus Content">
            <a:extLst>
              <a:ext uri="{FF2B5EF4-FFF2-40B4-BE49-F238E27FC236}">
                <a16:creationId xmlns:a16="http://schemas.microsoft.com/office/drawing/2014/main" id="{C6FD7E38-F2D4-D0B2-674F-A73B7A0E4CE8}"/>
              </a:ext>
            </a:extLst>
          </p:cNvPr>
          <p:cNvSpPr>
            <a:spLocks noGrp="1"/>
          </p:cNvSpPr>
          <p:nvPr>
            <p:ph type="body" sz="quarter" idx="20"/>
          </p:nvPr>
        </p:nvSpPr>
        <p:spPr>
          <a:xfrm>
            <a:off x="6096000" y="1691826"/>
            <a:ext cx="5543749" cy="3474349"/>
          </a:xfrm>
        </p:spPr>
        <p:txBody>
          <a:bodyPr anchor="ctr">
            <a:spAutoFit/>
          </a:bodyPr>
          <a:lstStyle>
            <a:lvl1pPr>
              <a:lnSpc>
                <a:spcPct val="100000"/>
              </a:lnSpc>
              <a:spcBef>
                <a:spcPct val="0"/>
              </a:spcBef>
              <a:spcAft>
                <a:spcPts val="1200"/>
              </a:spcAft>
              <a:defRPr sz="4600">
                <a:solidFill>
                  <a:schemeClr val="tx2"/>
                </a:solidFill>
                <a:latin typeface="+mj-lt"/>
              </a:defRPr>
            </a:lvl1pPr>
            <a:lvl2pPr marL="0" indent="0">
              <a:lnSpc>
                <a:spcPct val="130000"/>
              </a:lnSpc>
              <a:buFontTx/>
              <a:buNone/>
              <a:defRPr/>
            </a:lvl2pPr>
            <a:lvl3pPr marL="0" indent="0">
              <a:spcBef>
                <a:spcPct val="0"/>
              </a:spcBef>
              <a:spcAft>
                <a:spcPts val="1200"/>
              </a:spcAft>
              <a:buFontTx/>
              <a:buNone/>
              <a:defRPr sz="4600">
                <a:solidFill>
                  <a:schemeClr val="bg1"/>
                </a:solidFill>
                <a:latin typeface="+mj-lt"/>
              </a:defRPr>
            </a:lvl3pPr>
            <a:lvl4pPr marL="0" indent="0">
              <a:spcBef>
                <a:spcPts val="1200"/>
              </a:spcBef>
              <a:buClr>
                <a:schemeClr val="tx2"/>
              </a:buClr>
              <a:buFontTx/>
              <a:buNone/>
              <a:defRPr/>
            </a:lvl4pPr>
            <a:lvl5pPr marL="252000" indent="-252000">
              <a:spcBef>
                <a:spcPts val="1200"/>
              </a:spcBef>
              <a:buClr>
                <a:schemeClr val="tx2"/>
              </a:buClr>
              <a:buFont typeface="Wingdings" pitchFamily="2" charset="2"/>
              <a:buChar char="§"/>
              <a:defRPr sz="1800" b="0">
                <a:solidFill>
                  <a:schemeClr val="tx1"/>
                </a:solidFill>
                <a:latin typeface="+mn-lt"/>
              </a:defRPr>
            </a:lvl5pPr>
            <a:lvl6pPr marL="504000" indent="-252000">
              <a:spcBef>
                <a:spcPts val="600"/>
              </a:spcBef>
              <a:buFont typeface="Symbol" panose="05050102010706020507" pitchFamily="18" charset="2"/>
              <a:buChar char="-"/>
              <a:defRPr sz="1800" b="0" baseline="0">
                <a:solidFill>
                  <a:schemeClr val="tx1"/>
                </a:solidFill>
                <a:latin typeface="+mn-lt"/>
              </a:defRPr>
            </a:lvl6pPr>
            <a:lvl7pPr marL="0" indent="0">
              <a:spcBef>
                <a:spcPts val="1200"/>
              </a:spcBef>
              <a:buFontTx/>
              <a:buNone/>
              <a:defRPr sz="1800">
                <a:solidFill>
                  <a:schemeClr val="tx2"/>
                </a:solidFill>
                <a:latin typeface="+mj-lt"/>
              </a:defRPr>
            </a:lvl7pPr>
            <a:lvl8pPr marL="0" indent="0">
              <a:spcBef>
                <a:spcPts val="1200"/>
              </a:spcBef>
              <a:buFontTx/>
              <a:buNone/>
              <a:defRPr sz="1800">
                <a:solidFill>
                  <a:schemeClr val="accent2"/>
                </a:solidFill>
                <a:latin typeface="+mj-lt"/>
              </a:defRPr>
            </a:lvl8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23338851"/>
      </p:ext>
    </p:extLst>
  </p:cSld>
  <p:clrMapOvr>
    <a:masterClrMapping/>
  </p:clrMapOvr>
  <p:transition/>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with Image">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8245A0CA-77D2-4622-AB84-A5AD64AEB2B9}"/>
              </a:ext>
            </a:extLst>
          </p:cNvPr>
          <p:cNvSpPr>
            <a:spLocks noGrp="1"/>
          </p:cNvSpPr>
          <p:nvPr>
            <p:ph type="pic" sz="quarter" idx="16" hasCustomPrompt="1"/>
          </p:nvPr>
        </p:nvSpPr>
        <p:spPr>
          <a:xfrm>
            <a:off x="6096000" y="1269000"/>
            <a:ext cx="6096000" cy="4320000"/>
          </a:xfrm>
          <a:prstGeom prst="rect">
            <a:avLst/>
          </a:prstGeom>
          <a:solidFill>
            <a:srgbClr val="EDFCFF"/>
          </a:solidFill>
        </p:spPr>
        <p:txBody>
          <a:bodyPr bIns="756000" anchor="ctr"/>
          <a:lstStyle>
            <a:lvl1pPr marL="0" indent="0" algn="ctr">
              <a:buNone/>
              <a:defRPr/>
            </a:lvl1pPr>
          </a:lstStyle>
          <a:p>
            <a:r>
              <a:rPr lang="de-DE" noProof="0"/>
              <a:t> </a:t>
            </a:r>
          </a:p>
        </p:txBody>
      </p:sp>
      <p:sp>
        <p:nvSpPr>
          <p:cNvPr id="5" name="Title plus Content">
            <a:extLst>
              <a:ext uri="{FF2B5EF4-FFF2-40B4-BE49-F238E27FC236}">
                <a16:creationId xmlns:a16="http://schemas.microsoft.com/office/drawing/2014/main" id="{8CE17E58-CC43-8409-A36C-95B50D3FE3EA}"/>
              </a:ext>
            </a:extLst>
          </p:cNvPr>
          <p:cNvSpPr>
            <a:spLocks noGrp="1"/>
          </p:cNvSpPr>
          <p:nvPr>
            <p:ph type="body" sz="quarter" idx="20"/>
          </p:nvPr>
        </p:nvSpPr>
        <p:spPr>
          <a:xfrm>
            <a:off x="550799" y="2370665"/>
            <a:ext cx="5040000" cy="2116670"/>
          </a:xfrm>
        </p:spPr>
        <p:txBody>
          <a:bodyPr anchor="ctr">
            <a:spAutoFit/>
          </a:bodyPr>
          <a:lstStyle>
            <a:lvl1pPr>
              <a:lnSpc>
                <a:spcPct val="100000"/>
              </a:lnSpc>
              <a:spcBef>
                <a:spcPct val="0"/>
              </a:spcBef>
              <a:spcAft>
                <a:spcPts val="1200"/>
              </a:spcAft>
              <a:defRPr sz="4600">
                <a:solidFill>
                  <a:schemeClr val="tx2"/>
                </a:solidFill>
                <a:latin typeface="+mj-lt"/>
              </a:defRPr>
            </a:lvl1pPr>
            <a:lvl2pPr marL="0" indent="0">
              <a:lnSpc>
                <a:spcPct val="130000"/>
              </a:lnSpc>
              <a:buFontTx/>
              <a:buNone/>
              <a:defRPr/>
            </a:lvl2pPr>
            <a:lvl3pPr marL="0" indent="0">
              <a:spcBef>
                <a:spcPct val="0"/>
              </a:spcBef>
              <a:spcAft>
                <a:spcPts val="1200"/>
              </a:spcAft>
              <a:buFontTx/>
              <a:buNone/>
              <a:defRPr sz="4600">
                <a:solidFill>
                  <a:schemeClr val="bg1"/>
                </a:solidFill>
                <a:latin typeface="+mj-lt"/>
              </a:defRPr>
            </a:lvl3pPr>
            <a:lvl4pPr marL="0" indent="0">
              <a:spcBef>
                <a:spcPts val="1200"/>
              </a:spcBef>
              <a:buClr>
                <a:schemeClr val="tx2"/>
              </a:buClr>
              <a:buFontTx/>
              <a:buNone/>
              <a:defRPr/>
            </a:lvl4pPr>
            <a:lvl5pPr marL="252000" indent="-252000">
              <a:spcBef>
                <a:spcPts val="1200"/>
              </a:spcBef>
              <a:buClr>
                <a:schemeClr val="tx2"/>
              </a:buClr>
              <a:buFont typeface="Wingdings" pitchFamily="2" charset="2"/>
              <a:buChar char="§"/>
              <a:defRPr sz="1800" b="0">
                <a:solidFill>
                  <a:schemeClr val="tx1"/>
                </a:solidFill>
                <a:latin typeface="+mn-lt"/>
              </a:defRPr>
            </a:lvl5pPr>
            <a:lvl6pPr marL="504000" indent="-252000">
              <a:spcBef>
                <a:spcPts val="600"/>
              </a:spcBef>
              <a:buFont typeface="Symbol" panose="05050102010706020507" pitchFamily="18" charset="2"/>
              <a:buChar char="-"/>
              <a:defRPr sz="1800" b="0" baseline="0">
                <a:solidFill>
                  <a:schemeClr val="tx1"/>
                </a:solidFill>
                <a:latin typeface="+mn-lt"/>
              </a:defRPr>
            </a:lvl6pPr>
            <a:lvl7pPr marL="0" indent="0">
              <a:spcBef>
                <a:spcPts val="1200"/>
              </a:spcBef>
              <a:buFontTx/>
              <a:buNone/>
              <a:defRPr sz="1800">
                <a:solidFill>
                  <a:schemeClr val="tx2"/>
                </a:solidFill>
                <a:latin typeface="+mj-lt"/>
              </a:defRPr>
            </a:lvl7pPr>
            <a:lvl8pPr marL="0" indent="0">
              <a:spcBef>
                <a:spcPts val="1200"/>
              </a:spcBef>
              <a:buFontTx/>
              <a:buNone/>
              <a:defRPr sz="1800">
                <a:solidFill>
                  <a:schemeClr val="accent2"/>
                </a:solidFill>
                <a:latin typeface="+mj-lt"/>
              </a:defRPr>
            </a:lvl8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85183923"/>
      </p:ext>
    </p:extLst>
  </p:cSld>
  <p:clrMapOvr>
    <a:masterClrMapping/>
  </p:clrMapOvr>
  <p:transition/>
  <p:extLst>
    <p:ext uri="{DCECCB84-F9BA-43D5-87BE-67443E8EF086}">
      <p15:sldGuideLst xmlns:p15="http://schemas.microsoft.com/office/powerpoint/2012/main">
        <p15:guide id="1" pos="3840">
          <p15:clr>
            <a:srgbClr val="FBAE40"/>
          </p15:clr>
        </p15:guide>
        <p15:guide id="2" pos="3522"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entre Title White">
    <p:spTree>
      <p:nvGrpSpPr>
        <p:cNvPr id="1" name=""/>
        <p:cNvGrpSpPr/>
        <p:nvPr/>
      </p:nvGrpSpPr>
      <p:grpSpPr>
        <a:xfrm>
          <a:off x="0" y="0"/>
          <a:ext cx="0" cy="0"/>
          <a:chOff x="0" y="0"/>
          <a:chExt cx="0" cy="0"/>
        </a:xfrm>
      </p:grpSpPr>
      <p:sp>
        <p:nvSpPr>
          <p:cNvPr id="2" name="Title plus Content">
            <a:extLst>
              <a:ext uri="{FF2B5EF4-FFF2-40B4-BE49-F238E27FC236}">
                <a16:creationId xmlns:a16="http://schemas.microsoft.com/office/drawing/2014/main" id="{20266506-7111-89EA-5EFD-A5D40B6D11F4}"/>
              </a:ext>
            </a:extLst>
          </p:cNvPr>
          <p:cNvSpPr>
            <a:spLocks noGrp="1"/>
          </p:cNvSpPr>
          <p:nvPr>
            <p:ph type="body" sz="quarter" idx="20" hasCustomPrompt="1"/>
          </p:nvPr>
        </p:nvSpPr>
        <p:spPr>
          <a:xfrm>
            <a:off x="1776000" y="2845218"/>
            <a:ext cx="8639999" cy="1167564"/>
          </a:xfrm>
        </p:spPr>
        <p:txBody>
          <a:bodyPr anchor="ctr">
            <a:spAutoFit/>
          </a:bodyPr>
          <a:lstStyle>
            <a:lvl1pPr algn="ctr">
              <a:lnSpc>
                <a:spcPct val="105000"/>
              </a:lnSpc>
              <a:spcBef>
                <a:spcPts val="1200"/>
              </a:spcBef>
              <a:spcAft>
                <a:spcPct val="0"/>
              </a:spcAft>
              <a:defRPr sz="4600">
                <a:solidFill>
                  <a:schemeClr val="tx2"/>
                </a:solidFill>
                <a:latin typeface="+mj-lt"/>
              </a:defRPr>
            </a:lvl1pPr>
            <a:lvl2pPr marL="0" indent="0" algn="ctr">
              <a:lnSpc>
                <a:spcPct val="105000"/>
              </a:lnSpc>
              <a:buFontTx/>
              <a:buNone/>
              <a:defRPr sz="4600">
                <a:solidFill>
                  <a:schemeClr val="accent2"/>
                </a:solidFill>
                <a:latin typeface="+mj-lt"/>
              </a:defRPr>
            </a:lvl2pPr>
            <a:lvl3pPr marL="0" indent="0" algn="ctr">
              <a:spcBef>
                <a:spcPts val="1200"/>
              </a:spcBef>
              <a:spcAft>
                <a:spcPct val="0"/>
              </a:spcAft>
              <a:buFontTx/>
              <a:buNone/>
              <a:defRPr sz="8800">
                <a:solidFill>
                  <a:schemeClr val="tx2"/>
                </a:solidFill>
                <a:latin typeface="+mj-lt"/>
              </a:defRPr>
            </a:lvl3pPr>
            <a:lvl4pPr marL="0" indent="0" algn="ctr">
              <a:spcBef>
                <a:spcPts val="1200"/>
              </a:spcBef>
              <a:buClr>
                <a:schemeClr val="tx2"/>
              </a:buClr>
              <a:buFontTx/>
              <a:buNone/>
              <a:defRPr sz="8800">
                <a:solidFill>
                  <a:schemeClr val="accent2"/>
                </a:solidFill>
                <a:latin typeface="+mj-lt"/>
              </a:defRPr>
            </a:lvl4pPr>
            <a:lvl5pPr marL="0" indent="0" algn="ctr">
              <a:spcBef>
                <a:spcPts val="1200"/>
              </a:spcBef>
              <a:spcAft>
                <a:spcPct val="0"/>
              </a:spcAft>
              <a:buClr>
                <a:schemeClr val="tx2"/>
              </a:buClr>
              <a:buFontTx/>
              <a:buNone/>
              <a:defRPr sz="1800" b="0">
                <a:solidFill>
                  <a:schemeClr val="tx1"/>
                </a:solidFill>
                <a:latin typeface="+mn-lt"/>
              </a:defRPr>
            </a:lvl5pPr>
            <a:lvl6pPr marL="0" indent="0" algn="ctr">
              <a:spcBef>
                <a:spcPts val="1200"/>
              </a:spcBef>
              <a:spcAft>
                <a:spcPct val="0"/>
              </a:spcAft>
              <a:buFontTx/>
              <a:buNone/>
              <a:defRPr sz="1800" b="0" baseline="0">
                <a:solidFill>
                  <a:schemeClr val="accent2"/>
                </a:solidFill>
                <a:latin typeface="+mn-lt"/>
              </a:defRPr>
            </a:lvl6pPr>
            <a:lvl7pPr marL="0" indent="0" algn="ctr">
              <a:spcBef>
                <a:spcPts val="1200"/>
              </a:spcBef>
              <a:buFontTx/>
              <a:buNone/>
              <a:defRPr sz="4600" b="1">
                <a:solidFill>
                  <a:schemeClr val="accent4"/>
                </a:solidFill>
                <a:latin typeface="+mj-lt"/>
              </a:defRPr>
            </a:lvl7pPr>
            <a:lvl8pPr marL="0" indent="0" algn="ctr">
              <a:spcBef>
                <a:spcPts val="1200"/>
              </a:spcBef>
              <a:buFontTx/>
              <a:buNone/>
              <a:defRPr sz="4600" b="1">
                <a:solidFill>
                  <a:schemeClr val="accent3"/>
                </a:solidFill>
                <a:latin typeface="+mj-lt"/>
              </a:defRPr>
            </a:lvl8pPr>
            <a:lvl9pPr algn="ctr">
              <a:defRPr sz="4600" b="1">
                <a:solidFill>
                  <a:schemeClr val="accent5"/>
                </a:solidFill>
                <a:latin typeface="+mj-lt"/>
              </a:defRPr>
            </a:lvl9pPr>
          </a:lstStyle>
          <a:p>
            <a:pPr lvl="0"/>
            <a:r>
              <a:rPr lang="en-GB"/>
              <a:t>Text</a:t>
            </a:r>
          </a:p>
          <a:p>
            <a:pPr lvl="4"/>
            <a:r>
              <a:rPr lang="en-GB"/>
              <a:t>Fifth level</a:t>
            </a:r>
          </a:p>
        </p:txBody>
      </p:sp>
    </p:spTree>
    <p:extLst>
      <p:ext uri="{BB962C8B-B14F-4D97-AF65-F5344CB8AC3E}">
        <p14:creationId xmlns:p14="http://schemas.microsoft.com/office/powerpoint/2010/main" val="1707023405"/>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15:guide id="5" pos="4158" userDrawn="1">
          <p15:clr>
            <a:srgbClr val="FBAE40"/>
          </p15:clr>
        </p15:guide>
        <p15:guide id="6" pos="3522"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entre Title Blue">
    <p:bg>
      <p:bgRef idx="1001">
        <a:schemeClr val="bg2"/>
      </p:bgRef>
    </p:bg>
    <p:spTree>
      <p:nvGrpSpPr>
        <p:cNvPr id="1" name=""/>
        <p:cNvGrpSpPr/>
        <p:nvPr/>
      </p:nvGrpSpPr>
      <p:grpSpPr>
        <a:xfrm>
          <a:off x="0" y="0"/>
          <a:ext cx="0" cy="0"/>
          <a:chOff x="0" y="0"/>
          <a:chExt cx="0" cy="0"/>
        </a:xfrm>
      </p:grpSpPr>
      <p:sp>
        <p:nvSpPr>
          <p:cNvPr id="4" name="Title plus Content">
            <a:extLst>
              <a:ext uri="{FF2B5EF4-FFF2-40B4-BE49-F238E27FC236}">
                <a16:creationId xmlns:a16="http://schemas.microsoft.com/office/drawing/2014/main" id="{C5A556B7-0791-621C-816F-9C7E53970E70}"/>
              </a:ext>
            </a:extLst>
          </p:cNvPr>
          <p:cNvSpPr>
            <a:spLocks noGrp="1"/>
          </p:cNvSpPr>
          <p:nvPr>
            <p:ph type="body" sz="quarter" idx="20" hasCustomPrompt="1"/>
          </p:nvPr>
        </p:nvSpPr>
        <p:spPr>
          <a:xfrm>
            <a:off x="1776000" y="2845218"/>
            <a:ext cx="8639999" cy="1167564"/>
          </a:xfrm>
        </p:spPr>
        <p:txBody>
          <a:bodyPr anchor="ctr">
            <a:spAutoFit/>
          </a:bodyPr>
          <a:lstStyle>
            <a:lvl1pPr algn="ctr">
              <a:lnSpc>
                <a:spcPct val="105000"/>
              </a:lnSpc>
              <a:spcBef>
                <a:spcPts val="1200"/>
              </a:spcBef>
              <a:spcAft>
                <a:spcPct val="0"/>
              </a:spcAft>
              <a:defRPr sz="4600">
                <a:solidFill>
                  <a:schemeClr val="tx1"/>
                </a:solidFill>
                <a:latin typeface="+mj-lt"/>
              </a:defRPr>
            </a:lvl1pPr>
            <a:lvl2pPr marL="0" indent="0" algn="ctr">
              <a:lnSpc>
                <a:spcPct val="105000"/>
              </a:lnSpc>
              <a:buFontTx/>
              <a:buNone/>
              <a:defRPr sz="4600">
                <a:solidFill>
                  <a:schemeClr val="accent2"/>
                </a:solidFill>
                <a:latin typeface="+mj-lt"/>
              </a:defRPr>
            </a:lvl2pPr>
            <a:lvl3pPr marL="0" indent="0" algn="ctr">
              <a:spcBef>
                <a:spcPts val="1200"/>
              </a:spcBef>
              <a:spcAft>
                <a:spcPct val="0"/>
              </a:spcAft>
              <a:buFontTx/>
              <a:buNone/>
              <a:defRPr sz="8800">
                <a:solidFill>
                  <a:schemeClr val="tx1"/>
                </a:solidFill>
                <a:latin typeface="+mj-lt"/>
              </a:defRPr>
            </a:lvl3pPr>
            <a:lvl4pPr marL="0" indent="0" algn="ctr">
              <a:spcBef>
                <a:spcPts val="1200"/>
              </a:spcBef>
              <a:buClr>
                <a:schemeClr val="tx2"/>
              </a:buClr>
              <a:buFontTx/>
              <a:buNone/>
              <a:defRPr sz="8800">
                <a:solidFill>
                  <a:schemeClr val="accent2"/>
                </a:solidFill>
                <a:latin typeface="+mj-lt"/>
              </a:defRPr>
            </a:lvl4pPr>
            <a:lvl5pPr marL="0" indent="0" algn="ctr">
              <a:spcBef>
                <a:spcPts val="1200"/>
              </a:spcBef>
              <a:spcAft>
                <a:spcPct val="0"/>
              </a:spcAft>
              <a:buClr>
                <a:schemeClr val="tx2"/>
              </a:buClr>
              <a:buFontTx/>
              <a:buNone/>
              <a:defRPr sz="1800" b="0">
                <a:solidFill>
                  <a:schemeClr val="tx1"/>
                </a:solidFill>
                <a:latin typeface="+mn-lt"/>
              </a:defRPr>
            </a:lvl5pPr>
            <a:lvl6pPr marL="0" indent="0" algn="ctr">
              <a:spcBef>
                <a:spcPts val="1200"/>
              </a:spcBef>
              <a:spcAft>
                <a:spcPct val="0"/>
              </a:spcAft>
              <a:buFontTx/>
              <a:buNone/>
              <a:defRPr sz="1800" b="0" baseline="0">
                <a:solidFill>
                  <a:schemeClr val="accent2"/>
                </a:solidFill>
                <a:latin typeface="+mn-lt"/>
              </a:defRPr>
            </a:lvl6pPr>
            <a:lvl7pPr marL="0" indent="0" algn="l">
              <a:spcBef>
                <a:spcPts val="1200"/>
              </a:spcBef>
              <a:buFontTx/>
              <a:buNone/>
              <a:defRPr sz="1800">
                <a:solidFill>
                  <a:schemeClr val="tx1"/>
                </a:solidFill>
                <a:latin typeface="+mn-lt"/>
              </a:defRPr>
            </a:lvl7pPr>
            <a:lvl8pPr marL="0" indent="0" algn="l">
              <a:spcBef>
                <a:spcPts val="1200"/>
              </a:spcBef>
              <a:buFontTx/>
              <a:buNone/>
              <a:defRPr sz="1800">
                <a:solidFill>
                  <a:schemeClr val="accent2"/>
                </a:solidFill>
                <a:latin typeface="+mn-lt"/>
              </a:defRPr>
            </a:lvl8pPr>
            <a:lvl9pPr algn="ctr">
              <a:defRPr/>
            </a:lvl9pPr>
          </a:lstStyle>
          <a:p>
            <a:pPr lvl="0"/>
            <a:r>
              <a:rPr lang="en-GB"/>
              <a:t>Text</a:t>
            </a:r>
          </a:p>
          <a:p>
            <a:pPr lvl="4"/>
            <a:r>
              <a:rPr lang="en-GB"/>
              <a:t>Fifth level</a:t>
            </a:r>
          </a:p>
        </p:txBody>
      </p:sp>
    </p:spTree>
    <p:extLst>
      <p:ext uri="{BB962C8B-B14F-4D97-AF65-F5344CB8AC3E}">
        <p14:creationId xmlns:p14="http://schemas.microsoft.com/office/powerpoint/2010/main" val="2685286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15:guide id="5" pos="4158" userDrawn="1">
          <p15:clr>
            <a:srgbClr val="FBAE40"/>
          </p15:clr>
        </p15:guide>
        <p15:guide id="6" pos="3522"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entre Title and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4884C31-EC1F-A70F-FF1B-C8B871034672}"/>
              </a:ext>
            </a:extLst>
          </p:cNvPr>
          <p:cNvSpPr>
            <a:spLocks noGrp="1"/>
          </p:cNvSpPr>
          <p:nvPr>
            <p:ph type="pic" sz="quarter" idx="19"/>
          </p:nvPr>
        </p:nvSpPr>
        <p:spPr>
          <a:xfrm>
            <a:off x="0" y="0"/>
            <a:ext cx="12192000" cy="6858000"/>
          </a:xfrm>
          <a:prstGeom prst="rect">
            <a:avLst/>
          </a:prstGeom>
          <a:solidFill>
            <a:srgbClr val="EDFCFF"/>
          </a:solidFill>
        </p:spPr>
        <p:txBody>
          <a:bodyPr/>
          <a:lstStyle/>
          <a:p>
            <a:r>
              <a:rPr lang="en-US"/>
              <a:t>Click icon to add picture</a:t>
            </a:r>
          </a:p>
        </p:txBody>
      </p:sp>
      <p:sp>
        <p:nvSpPr>
          <p:cNvPr id="3" name="Title plus Content">
            <a:extLst>
              <a:ext uri="{FF2B5EF4-FFF2-40B4-BE49-F238E27FC236}">
                <a16:creationId xmlns:a16="http://schemas.microsoft.com/office/drawing/2014/main" id="{77BF0EF0-91A4-5D2D-3D5C-50AC189ACD6A}"/>
              </a:ext>
            </a:extLst>
          </p:cNvPr>
          <p:cNvSpPr>
            <a:spLocks noGrp="1"/>
          </p:cNvSpPr>
          <p:nvPr>
            <p:ph type="body" sz="quarter" idx="20" hasCustomPrompt="1"/>
          </p:nvPr>
        </p:nvSpPr>
        <p:spPr>
          <a:xfrm>
            <a:off x="1776000" y="2845218"/>
            <a:ext cx="8639999" cy="1167564"/>
          </a:xfrm>
        </p:spPr>
        <p:txBody>
          <a:bodyPr anchor="ctr">
            <a:spAutoFit/>
          </a:bodyPr>
          <a:lstStyle>
            <a:lvl1pPr algn="ctr">
              <a:lnSpc>
                <a:spcPct val="105000"/>
              </a:lnSpc>
              <a:spcBef>
                <a:spcPts val="1200"/>
              </a:spcBef>
              <a:spcAft>
                <a:spcPct val="0"/>
              </a:spcAft>
              <a:defRPr sz="4600">
                <a:solidFill>
                  <a:schemeClr val="bg1"/>
                </a:solidFill>
                <a:latin typeface="+mj-lt"/>
              </a:defRPr>
            </a:lvl1pPr>
            <a:lvl2pPr marL="0" indent="0" algn="ctr">
              <a:lnSpc>
                <a:spcPct val="105000"/>
              </a:lnSpc>
              <a:buFontTx/>
              <a:buNone/>
              <a:defRPr sz="4600">
                <a:solidFill>
                  <a:schemeClr val="accent2"/>
                </a:solidFill>
                <a:latin typeface="+mj-lt"/>
              </a:defRPr>
            </a:lvl2pPr>
            <a:lvl3pPr marL="0" indent="0" algn="ctr">
              <a:spcBef>
                <a:spcPts val="1200"/>
              </a:spcBef>
              <a:spcAft>
                <a:spcPct val="0"/>
              </a:spcAft>
              <a:buFontTx/>
              <a:buNone/>
              <a:defRPr sz="8800">
                <a:solidFill>
                  <a:schemeClr val="bg1"/>
                </a:solidFill>
                <a:latin typeface="+mj-lt"/>
              </a:defRPr>
            </a:lvl3pPr>
            <a:lvl4pPr marL="0" indent="0" algn="ctr">
              <a:spcBef>
                <a:spcPts val="1200"/>
              </a:spcBef>
              <a:buClr>
                <a:schemeClr val="tx2"/>
              </a:buClr>
              <a:buFontTx/>
              <a:buNone/>
              <a:defRPr sz="8800">
                <a:solidFill>
                  <a:schemeClr val="accent2"/>
                </a:solidFill>
                <a:latin typeface="+mj-lt"/>
              </a:defRPr>
            </a:lvl4pPr>
            <a:lvl5pPr marL="0" indent="0" algn="ctr">
              <a:spcBef>
                <a:spcPts val="1200"/>
              </a:spcBef>
              <a:spcAft>
                <a:spcPct val="0"/>
              </a:spcAft>
              <a:buClr>
                <a:schemeClr val="tx2"/>
              </a:buClr>
              <a:buFontTx/>
              <a:buNone/>
              <a:defRPr sz="1800" b="0">
                <a:solidFill>
                  <a:schemeClr val="tx1"/>
                </a:solidFill>
                <a:latin typeface="+mn-lt"/>
              </a:defRPr>
            </a:lvl5pPr>
            <a:lvl6pPr marL="0" indent="0" algn="ctr">
              <a:spcBef>
                <a:spcPts val="1200"/>
              </a:spcBef>
              <a:spcAft>
                <a:spcPct val="0"/>
              </a:spcAft>
              <a:buFontTx/>
              <a:buNone/>
              <a:defRPr sz="1800" b="0" baseline="0">
                <a:solidFill>
                  <a:schemeClr val="accent2"/>
                </a:solidFill>
                <a:latin typeface="+mn-lt"/>
              </a:defRPr>
            </a:lvl6pPr>
            <a:lvl7pPr marL="0" indent="0" algn="ctr">
              <a:spcBef>
                <a:spcPts val="1200"/>
              </a:spcBef>
              <a:buFontTx/>
              <a:buNone/>
              <a:defRPr sz="4600" b="1">
                <a:solidFill>
                  <a:schemeClr val="accent1"/>
                </a:solidFill>
                <a:latin typeface="+mj-lt"/>
              </a:defRPr>
            </a:lvl7pPr>
            <a:lvl8pPr marL="0" indent="0" algn="ctr">
              <a:spcBef>
                <a:spcPts val="1200"/>
              </a:spcBef>
              <a:buFontTx/>
              <a:buNone/>
              <a:defRPr sz="4600" b="1">
                <a:solidFill>
                  <a:schemeClr val="accent3"/>
                </a:solidFill>
                <a:latin typeface="+mj-lt"/>
              </a:defRPr>
            </a:lvl8pPr>
            <a:lvl9pPr algn="ctr">
              <a:defRPr sz="4600" b="1">
                <a:solidFill>
                  <a:schemeClr val="accent4"/>
                </a:solidFill>
                <a:latin typeface="+mj-lt"/>
              </a:defRPr>
            </a:lvl9pPr>
          </a:lstStyle>
          <a:p>
            <a:pPr lvl="0"/>
            <a:r>
              <a:rPr lang="en-GB"/>
              <a:t>Text</a:t>
            </a:r>
          </a:p>
          <a:p>
            <a:pPr lvl="4"/>
            <a:r>
              <a:rPr lang="en-GB"/>
              <a:t>Fifth level</a:t>
            </a:r>
          </a:p>
        </p:txBody>
      </p:sp>
    </p:spTree>
    <p:extLst>
      <p:ext uri="{BB962C8B-B14F-4D97-AF65-F5344CB8AC3E}">
        <p14:creationId xmlns:p14="http://schemas.microsoft.com/office/powerpoint/2010/main" val="3099010972"/>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15:guide id="5" pos="4158" userDrawn="1">
          <p15:clr>
            <a:srgbClr val="FBAE40"/>
          </p15:clr>
        </p15:guide>
        <p15:guide id="6" pos="3522"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Picture&#10;with title">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8B88125F-4DBA-4A5C-98A5-541E3DF3AB8F}"/>
              </a:ext>
            </a:extLst>
          </p:cNvPr>
          <p:cNvSpPr>
            <a:spLocks noGrp="1"/>
          </p:cNvSpPr>
          <p:nvPr>
            <p:ph type="pic" sz="quarter" idx="13"/>
          </p:nvPr>
        </p:nvSpPr>
        <p:spPr>
          <a:xfrm>
            <a:off x="0" y="1"/>
            <a:ext cx="12192000" cy="6858000"/>
          </a:xfrm>
          <a:prstGeom prst="rect">
            <a:avLst/>
          </a:prstGeom>
          <a:solidFill>
            <a:srgbClr val="EDFCFF"/>
          </a:solidFill>
        </p:spPr>
        <p:txBody>
          <a:bodyPr vert="horz" wrap="square" lIns="0" tIns="0" rIns="0" bIns="756000" rtlCol="0" anchor="ctr">
            <a:noAutofit/>
          </a:bodyPr>
          <a:lstStyle>
            <a:lvl1pPr>
              <a:defRPr lang="en-US"/>
            </a:lvl1pPr>
          </a:lstStyle>
          <a:p>
            <a:pPr lvl="0" algn="ctr"/>
            <a:r>
              <a:rPr lang="en-US"/>
              <a:t>Click icon to add picture</a:t>
            </a:r>
          </a:p>
        </p:txBody>
      </p:sp>
      <p:sp>
        <p:nvSpPr>
          <p:cNvPr id="5" name="Page Number">
            <a:extLst>
              <a:ext uri="{FF2B5EF4-FFF2-40B4-BE49-F238E27FC236}">
                <a16:creationId xmlns:a16="http://schemas.microsoft.com/office/drawing/2014/main" id="{0EAB5203-EB9A-897F-4EF6-58F6F2BD253A}"/>
              </a:ext>
            </a:extLst>
          </p:cNvPr>
          <p:cNvSpPr txBox="1"/>
          <p:nvPr/>
        </p:nvSpPr>
        <p:spPr>
          <a:xfrm>
            <a:off x="11233601" y="6525344"/>
            <a:ext cx="406400" cy="141577"/>
          </a:xfrm>
          <a:prstGeom prst="rect">
            <a:avLst/>
          </a:prstGeom>
          <a:noFill/>
        </p:spPr>
        <p:txBody>
          <a:bodyPr vert="horz" wrap="square" lIns="0" tIns="0" rIns="0" bIns="0" rtlCol="0">
            <a:noAutofit/>
          </a:bodyPr>
          <a:lstStyle/>
          <a:p>
            <a:pPr algn="r">
              <a:lnSpc>
                <a:spcPct val="100000"/>
              </a:lnSpc>
              <a:spcAft>
                <a:spcPct val="0"/>
              </a:spcAft>
            </a:pPr>
            <a:fld id="{28EFE765-FF9D-4A30-9EA2-0EADEF4E4456}" type="slidenum">
              <a:rPr lang="en-GB" sz="900" kern="1200" baseline="0">
                <a:solidFill>
                  <a:schemeClr val="tx1"/>
                </a:solidFill>
                <a:latin typeface="+mn-lt"/>
                <a:ea typeface="+mn-ea"/>
                <a:cs typeface="+mn-cs"/>
              </a:rPr>
              <a:pPr algn="r">
                <a:lnSpc>
                  <a:spcPct val="100000"/>
                </a:lnSpc>
                <a:spcAft>
                  <a:spcPct val="0"/>
                </a:spcAft>
              </a:pPr>
              <a:t>‹#›</a:t>
            </a:fld>
            <a:endParaRPr lang="en-GB" sz="900" kern="1200" baseline="0">
              <a:solidFill>
                <a:schemeClr val="tx1"/>
              </a:solidFill>
              <a:latin typeface="+mn-lt"/>
              <a:ea typeface="+mn-ea"/>
              <a:cs typeface="+mn-cs"/>
            </a:endParaRPr>
          </a:p>
        </p:txBody>
      </p:sp>
      <p:sp>
        <p:nvSpPr>
          <p:cNvPr id="4" name="Title">
            <a:extLst>
              <a:ext uri="{FF2B5EF4-FFF2-40B4-BE49-F238E27FC236}">
                <a16:creationId xmlns:a16="http://schemas.microsoft.com/office/drawing/2014/main" id="{FBD4269F-8B15-0029-4910-00DF98A376D5}"/>
              </a:ext>
            </a:extLst>
          </p:cNvPr>
          <p:cNvSpPr>
            <a:spLocks noGrp="1"/>
          </p:cNvSpPr>
          <p:nvPr>
            <p:ph type="title"/>
          </p:nvPr>
        </p:nvSpPr>
        <p:spPr bwMode="gray">
          <a:xfrm>
            <a:off x="1" y="3428999"/>
            <a:ext cx="4470400" cy="3428999"/>
          </a:xfrm>
          <a:custGeom>
            <a:avLst/>
            <a:gdLst>
              <a:gd name="connsiteX0" fmla="*/ 0 w 8164842"/>
              <a:gd name="connsiteY0" fmla="*/ 0 h 1944775"/>
              <a:gd name="connsiteX1" fmla="*/ 8164842 w 8164842"/>
              <a:gd name="connsiteY1" fmla="*/ 0 h 1944775"/>
              <a:gd name="connsiteX2" fmla="*/ 8164842 w 8164842"/>
              <a:gd name="connsiteY2" fmla="*/ 1944775 h 1944775"/>
              <a:gd name="connsiteX3" fmla="*/ 0 w 8164842"/>
              <a:gd name="connsiteY3" fmla="*/ 1944775 h 1944775"/>
            </a:gdLst>
            <a:ahLst/>
            <a:cxnLst>
              <a:cxn ang="0">
                <a:pos x="connsiteX0" y="connsiteY0"/>
              </a:cxn>
              <a:cxn ang="0">
                <a:pos x="connsiteX1" y="connsiteY1"/>
              </a:cxn>
              <a:cxn ang="0">
                <a:pos x="connsiteX2" y="connsiteY2"/>
              </a:cxn>
              <a:cxn ang="0">
                <a:pos x="connsiteX3" y="connsiteY3"/>
              </a:cxn>
            </a:cxnLst>
            <a:rect l="l" t="t" r="r" b="b"/>
            <a:pathLst>
              <a:path w="8164842" h="1944775">
                <a:moveTo>
                  <a:pt x="0" y="0"/>
                </a:moveTo>
                <a:lnTo>
                  <a:pt x="8164842" y="0"/>
                </a:lnTo>
                <a:lnTo>
                  <a:pt x="8164842" y="1944775"/>
                </a:lnTo>
                <a:lnTo>
                  <a:pt x="0" y="1944775"/>
                </a:lnTo>
                <a:close/>
              </a:path>
            </a:pathLst>
          </a:custGeom>
          <a:solidFill>
            <a:schemeClr val="bg1"/>
          </a:solidFill>
        </p:spPr>
        <p:txBody>
          <a:bodyPr vert="horz" wrap="square" lIns="609600" tIns="203200" rIns="203200" bIns="203200" rtlCol="0" anchor="t" anchorCtr="0">
            <a:noAutofit/>
          </a:bodyPr>
          <a:lstStyle>
            <a:lvl1pPr algn="l">
              <a:lnSpc>
                <a:spcPct val="110000"/>
              </a:lnSpc>
              <a:defRPr lang="de-DE" sz="4600" b="1" i="0" spc="0" baseline="0">
                <a:solidFill>
                  <a:schemeClr val="tx2"/>
                </a:solidFill>
                <a:latin typeface="+mj-lt"/>
                <a:cs typeface="Segoe UI Semilight" panose="020B0502040204020203" pitchFamily="34" charset="0"/>
              </a:defRPr>
            </a:lvl1pPr>
          </a:lstStyle>
          <a:p>
            <a:pPr lvl="0"/>
            <a:r>
              <a:rPr lang="en-US" noProof="0"/>
              <a:t>Click to edit Master title style</a:t>
            </a:r>
            <a:endParaRPr lang="de-DE" noProof="0"/>
          </a:p>
        </p:txBody>
      </p:sp>
    </p:spTree>
    <p:extLst>
      <p:ext uri="{BB962C8B-B14F-4D97-AF65-F5344CB8AC3E}">
        <p14:creationId xmlns:p14="http://schemas.microsoft.com/office/powerpoint/2010/main" val="2536319779"/>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Full Picture_Special">
    <p:bg>
      <p:bgRef idx="1001">
        <a:schemeClr val="bg2"/>
      </p:bgRef>
    </p:bg>
    <p:spTree>
      <p:nvGrpSpPr>
        <p:cNvPr id="1" name=""/>
        <p:cNvGrpSpPr/>
        <p:nvPr/>
      </p:nvGrpSpPr>
      <p:grpSpPr>
        <a:xfrm>
          <a:off x="0" y="0"/>
          <a:ext cx="0" cy="0"/>
          <a:chOff x="0" y="0"/>
          <a:chExt cx="0" cy="0"/>
        </a:xfrm>
      </p:grpSpPr>
      <p:sp>
        <p:nvSpPr>
          <p:cNvPr id="7" name="Picture Placeholder Special">
            <a:extLst>
              <a:ext uri="{FF2B5EF4-FFF2-40B4-BE49-F238E27FC236}">
                <a16:creationId xmlns:a16="http://schemas.microsoft.com/office/drawing/2014/main" id="{30915A37-2073-1835-1333-20479AFB9FCE}"/>
              </a:ext>
            </a:extLst>
          </p:cNvPr>
          <p:cNvSpPr>
            <a:spLocks noGrp="1"/>
          </p:cNvSpPr>
          <p:nvPr>
            <p:ph type="pic" idx="17" hasCustomPrompt="1"/>
          </p:nvPr>
        </p:nvSpPr>
        <p:spPr>
          <a:xfrm>
            <a:off x="0" y="0"/>
            <a:ext cx="12192000" cy="6858000"/>
          </a:xfrm>
          <a:prstGeom prst="rect">
            <a:avLst/>
          </a:prstGeom>
          <a:noFill/>
          <a:effectLst>
            <a:fillOverlay blend="mult">
              <a:gradFill flip="none" rotWithShape="1">
                <a:gsLst>
                  <a:gs pos="27000">
                    <a:srgbClr val="072853">
                      <a:alpha val="77655"/>
                    </a:srgbClr>
                  </a:gs>
                  <a:gs pos="100000">
                    <a:srgbClr val="E3E3E3">
                      <a:lumMod val="10000"/>
                      <a:alpha val="0"/>
                    </a:srgbClr>
                  </a:gs>
                  <a:gs pos="1000">
                    <a:srgbClr val="538FFF">
                      <a:alpha val="19000"/>
                    </a:srgbClr>
                  </a:gs>
                </a:gsLst>
                <a:lin ang="18900000" scaled="1"/>
              </a:gradFill>
            </a:fillOverlay>
          </a:effectLst>
        </p:spPr>
        <p:txBody>
          <a:bodyPr rtlCol="0" anchor="ctr"/>
          <a:lstStyle>
            <a:lvl1pPr algn="ctr">
              <a:defRPr kumimoji="0" lang="en-US" b="0" i="0" u="none" strike="noStrike" kern="0" cap="none" spc="0" normalizeH="0" baseline="0">
                <a:ln>
                  <a:noFill/>
                </a:ln>
                <a:solidFill>
                  <a:schemeClr val="tx1"/>
                </a:solidFill>
                <a:effectLst/>
                <a:uLnTx/>
                <a:uFillTx/>
                <a:latin typeface="Segoe UI"/>
              </a:defRPr>
            </a:lvl1pPr>
          </a:lstStyle>
          <a:p>
            <a:pPr marR="0" lvl="0" algn="ctr" defTabSz="914400" fontAlgn="auto">
              <a:lnSpc>
                <a:spcPct val="100000"/>
              </a:lnSpc>
              <a:spcAft>
                <a:spcPct val="0"/>
              </a:spcAft>
              <a:buClrTx/>
              <a:buSzTx/>
            </a:pPr>
            <a:r>
              <a:rPr lang="en-US"/>
              <a:t> </a:t>
            </a:r>
          </a:p>
        </p:txBody>
      </p:sp>
      <p:sp>
        <p:nvSpPr>
          <p:cNvPr id="2" name="Gradient Overlay">
            <a:extLst>
              <a:ext uri="{FF2B5EF4-FFF2-40B4-BE49-F238E27FC236}">
                <a16:creationId xmlns:a16="http://schemas.microsoft.com/office/drawing/2014/main" id="{B640A9B8-017D-770A-F926-BD345E7FCF43}"/>
              </a:ext>
            </a:extLst>
          </p:cNvPr>
          <p:cNvSpPr/>
          <p:nvPr/>
        </p:nvSpPr>
        <p:spPr>
          <a:xfrm>
            <a:off x="0" y="0"/>
            <a:ext cx="12192000" cy="6858000"/>
          </a:xfrm>
          <a:prstGeom prst="rect">
            <a:avLst/>
          </a:prstGeom>
          <a:gradFill flip="none" rotWithShape="1">
            <a:gsLst>
              <a:gs pos="27000">
                <a:srgbClr val="072853">
                  <a:alpha val="77655"/>
                </a:srgbClr>
              </a:gs>
              <a:gs pos="100000">
                <a:srgbClr val="E3E3E3">
                  <a:lumMod val="10000"/>
                  <a:alpha val="0"/>
                </a:srgbClr>
              </a:gs>
              <a:gs pos="1000">
                <a:srgbClr val="538FFF">
                  <a:alpha val="19000"/>
                </a:srgbClr>
              </a:gs>
            </a:gsLst>
            <a:lin ang="189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PT" sz="1800" b="0" i="0" u="none" strike="noStrike" kern="0" cap="none" spc="0" normalizeH="0" baseline="0" noProof="0">
              <a:ln>
                <a:noFill/>
              </a:ln>
              <a:solidFill>
                <a:srgbClr val="FFFFFF"/>
              </a:solidFill>
              <a:effectLst/>
              <a:uLnTx/>
              <a:uFillTx/>
              <a:latin typeface="Segoe UI"/>
              <a:ea typeface="+mn-ea"/>
              <a:cs typeface="+mn-cs"/>
            </a:endParaRPr>
          </a:p>
        </p:txBody>
      </p:sp>
      <p:sp>
        <p:nvSpPr>
          <p:cNvPr id="10" name="Page Number">
            <a:extLst>
              <a:ext uri="{FF2B5EF4-FFF2-40B4-BE49-F238E27FC236}">
                <a16:creationId xmlns:a16="http://schemas.microsoft.com/office/drawing/2014/main" id="{76F9FC46-6208-CC39-7B3E-CA57286B34C9}"/>
              </a:ext>
            </a:extLst>
          </p:cNvPr>
          <p:cNvSpPr txBox="1"/>
          <p:nvPr/>
        </p:nvSpPr>
        <p:spPr>
          <a:xfrm>
            <a:off x="11233601" y="6525344"/>
            <a:ext cx="406400" cy="141577"/>
          </a:xfrm>
          <a:prstGeom prst="rect">
            <a:avLst/>
          </a:prstGeom>
          <a:noFill/>
        </p:spPr>
        <p:txBody>
          <a:bodyPr vert="horz" wrap="square" lIns="0" tIns="0" rIns="0" bIns="0" rtlCol="0">
            <a:noAutofit/>
          </a:bodyPr>
          <a:lstStyle/>
          <a:p>
            <a:pPr algn="r">
              <a:lnSpc>
                <a:spcPct val="100000"/>
              </a:lnSpc>
              <a:spcAft>
                <a:spcPct val="0"/>
              </a:spcAft>
            </a:pPr>
            <a:fld id="{28EFE765-FF9D-4A30-9EA2-0EADEF4E4456}" type="slidenum">
              <a:rPr lang="en-GB" sz="900" kern="1200" baseline="0">
                <a:solidFill>
                  <a:schemeClr val="tx1"/>
                </a:solidFill>
                <a:latin typeface="+mn-lt"/>
                <a:ea typeface="+mn-ea"/>
                <a:cs typeface="+mn-cs"/>
              </a:rPr>
              <a:pPr algn="r">
                <a:lnSpc>
                  <a:spcPct val="100000"/>
                </a:lnSpc>
                <a:spcAft>
                  <a:spcPct val="0"/>
                </a:spcAft>
              </a:pPr>
              <a:t>‹#›</a:t>
            </a:fld>
            <a:endParaRPr lang="en-GB" sz="900" kern="1200" baseline="0">
              <a:solidFill>
                <a:schemeClr val="tx1"/>
              </a:solidFill>
              <a:latin typeface="+mn-lt"/>
              <a:ea typeface="+mn-ea"/>
              <a:cs typeface="+mn-cs"/>
            </a:endParaRPr>
          </a:p>
        </p:txBody>
      </p:sp>
      <p:sp>
        <p:nvSpPr>
          <p:cNvPr id="14" name="Title plus Content">
            <a:extLst>
              <a:ext uri="{FF2B5EF4-FFF2-40B4-BE49-F238E27FC236}">
                <a16:creationId xmlns:a16="http://schemas.microsoft.com/office/drawing/2014/main" id="{A6E6DCA2-8017-4CD2-28FB-E1A0A967464B}"/>
              </a:ext>
            </a:extLst>
          </p:cNvPr>
          <p:cNvSpPr>
            <a:spLocks noGrp="1"/>
          </p:cNvSpPr>
          <p:nvPr>
            <p:ph type="body" sz="quarter" idx="20"/>
          </p:nvPr>
        </p:nvSpPr>
        <p:spPr>
          <a:xfrm>
            <a:off x="550800" y="2406060"/>
            <a:ext cx="5003999" cy="2045881"/>
          </a:xfrm>
        </p:spPr>
        <p:txBody>
          <a:bodyPr anchor="ctr">
            <a:spAutoFit/>
          </a:bodyPr>
          <a:lstStyle>
            <a:lvl1pPr>
              <a:lnSpc>
                <a:spcPct val="100000"/>
              </a:lnSpc>
              <a:spcBef>
                <a:spcPct val="0"/>
              </a:spcBef>
              <a:spcAft>
                <a:spcPts val="1200"/>
              </a:spcAft>
              <a:defRPr sz="4600">
                <a:solidFill>
                  <a:schemeClr val="tx1"/>
                </a:solidFill>
                <a:latin typeface="+mj-lt"/>
              </a:defRPr>
            </a:lvl1pPr>
            <a:lvl2pPr marL="0" indent="0">
              <a:lnSpc>
                <a:spcPct val="130000"/>
              </a:lnSpc>
              <a:buFontTx/>
              <a:buNone/>
              <a:defRPr/>
            </a:lvl2pPr>
            <a:lvl3pPr marL="0" indent="0">
              <a:spcBef>
                <a:spcPct val="0"/>
              </a:spcBef>
              <a:spcAft>
                <a:spcPts val="1200"/>
              </a:spcAft>
              <a:buFontTx/>
              <a:buNone/>
              <a:defRPr sz="4600">
                <a:solidFill>
                  <a:schemeClr val="accent2"/>
                </a:solidFill>
                <a:latin typeface="+mj-lt"/>
              </a:defRPr>
            </a:lvl3pPr>
            <a:lvl4pPr marL="0" indent="0">
              <a:spcBef>
                <a:spcPts val="1200"/>
              </a:spcBef>
              <a:buClr>
                <a:schemeClr val="tx2"/>
              </a:buClr>
              <a:buFontTx/>
              <a:buNone/>
              <a:defRPr/>
            </a:lvl4pPr>
            <a:lvl5pPr marL="252000" indent="-252000">
              <a:spcBef>
                <a:spcPts val="1200"/>
              </a:spcBef>
              <a:buClr>
                <a:schemeClr val="tx2"/>
              </a:buClr>
              <a:buFont typeface="Wingdings" pitchFamily="2" charset="2"/>
              <a:buChar char="§"/>
              <a:defRPr sz="1800" b="0">
                <a:solidFill>
                  <a:schemeClr val="tx1"/>
                </a:solidFill>
                <a:latin typeface="+mn-lt"/>
              </a:defRPr>
            </a:lvl5pPr>
            <a:lvl6pPr marL="504000" indent="-252000">
              <a:spcBef>
                <a:spcPts val="600"/>
              </a:spcBef>
              <a:buFont typeface="Symbol" panose="05050102010706020507" pitchFamily="18" charset="2"/>
              <a:buChar char="-"/>
              <a:defRPr sz="1800" b="0" baseline="0">
                <a:solidFill>
                  <a:schemeClr val="tx1"/>
                </a:solidFill>
                <a:latin typeface="+mn-lt"/>
              </a:defRPr>
            </a:lvl6pPr>
            <a:lvl7pPr marL="0" indent="0">
              <a:spcBef>
                <a:spcPts val="1200"/>
              </a:spcBef>
              <a:buFontTx/>
              <a:buNone/>
              <a:defRPr sz="1800">
                <a:solidFill>
                  <a:schemeClr val="tx1"/>
                </a:solidFill>
                <a:latin typeface="+mj-lt"/>
              </a:defRPr>
            </a:lvl7pPr>
            <a:lvl8pPr marL="0" indent="0">
              <a:spcBef>
                <a:spcPts val="1200"/>
              </a:spcBef>
              <a:buFontTx/>
              <a:buNone/>
              <a:defRPr sz="1800">
                <a:solidFill>
                  <a:schemeClr val="accent2"/>
                </a:solidFill>
                <a:latin typeface="+mj-lt"/>
              </a:defRPr>
            </a:lvl8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95473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Highlight">
    <p:bg>
      <p:bgRef idx="1001">
        <a:schemeClr val="bg2"/>
      </p:bgRef>
    </p:bg>
    <p:spTree>
      <p:nvGrpSpPr>
        <p:cNvPr id="1" name=""/>
        <p:cNvGrpSpPr/>
        <p:nvPr/>
      </p:nvGrpSpPr>
      <p:grpSpPr>
        <a:xfrm>
          <a:off x="0" y="0"/>
          <a:ext cx="0" cy="0"/>
          <a:chOff x="0" y="0"/>
          <a:chExt cx="0" cy="0"/>
        </a:xfrm>
      </p:grpSpPr>
      <p:sp>
        <p:nvSpPr>
          <p:cNvPr id="8" name="Squiggle">
            <a:extLst>
              <a:ext uri="{FF2B5EF4-FFF2-40B4-BE49-F238E27FC236}">
                <a16:creationId xmlns:a16="http://schemas.microsoft.com/office/drawing/2014/main" id="{E6B056FC-D76E-6EEE-1F46-98B3E85BDD72}"/>
              </a:ext>
            </a:extLst>
          </p:cNvPr>
          <p:cNvSpPr/>
          <p:nvPr/>
        </p:nvSpPr>
        <p:spPr>
          <a:xfrm rot="4430537">
            <a:off x="2406828" y="-2403022"/>
            <a:ext cx="7944708" cy="13618868"/>
          </a:xfrm>
          <a:custGeom>
            <a:avLst/>
            <a:gdLst>
              <a:gd name="connsiteX0" fmla="*/ 0 w 7944708"/>
              <a:gd name="connsiteY0" fmla="*/ 4685805 h 13618868"/>
              <a:gd name="connsiteX1" fmla="*/ 1357604 w 7944708"/>
              <a:gd name="connsiteY1" fmla="*/ 0 h 13618868"/>
              <a:gd name="connsiteX2" fmla="*/ 4049990 w 7944708"/>
              <a:gd name="connsiteY2" fmla="*/ 780056 h 13618868"/>
              <a:gd name="connsiteX3" fmla="*/ 4162100 w 7944708"/>
              <a:gd name="connsiteY3" fmla="*/ 1058737 h 13618868"/>
              <a:gd name="connsiteX4" fmla="*/ 6321097 w 7944708"/>
              <a:gd name="connsiteY4" fmla="*/ 5355046 h 13618868"/>
              <a:gd name="connsiteX5" fmla="*/ 5623247 w 7944708"/>
              <a:gd name="connsiteY5" fmla="*/ 1545335 h 13618868"/>
              <a:gd name="connsiteX6" fmla="*/ 5602778 w 7944708"/>
              <a:gd name="connsiteY6" fmla="*/ 1229940 h 13618868"/>
              <a:gd name="connsiteX7" fmla="*/ 7944708 w 7944708"/>
              <a:gd name="connsiteY7" fmla="*/ 1908460 h 13618868"/>
              <a:gd name="connsiteX8" fmla="*/ 5453795 w 7944708"/>
              <a:gd name="connsiteY8" fmla="*/ 10505918 h 13618868"/>
              <a:gd name="connsiteX9" fmla="*/ 5088659 w 7944708"/>
              <a:gd name="connsiteY9" fmla="*/ 9925772 h 13618868"/>
              <a:gd name="connsiteX10" fmla="*/ 2348310 w 7944708"/>
              <a:gd name="connsiteY10" fmla="*/ 4969698 h 13618868"/>
              <a:gd name="connsiteX11" fmla="*/ 4916023 w 7944708"/>
              <a:gd name="connsiteY11" fmla="*/ 12050905 h 13618868"/>
              <a:gd name="connsiteX12" fmla="*/ 4969351 w 7944708"/>
              <a:gd name="connsiteY12" fmla="*/ 12177989 h 13618868"/>
              <a:gd name="connsiteX13" fmla="*/ 4551890 w 7944708"/>
              <a:gd name="connsiteY13" fmla="*/ 13618868 h 13618868"/>
              <a:gd name="connsiteX14" fmla="*/ 2127054 w 7944708"/>
              <a:gd name="connsiteY14" fmla="*/ 12916328 h 13618868"/>
              <a:gd name="connsiteX15" fmla="*/ 2070213 w 7944708"/>
              <a:gd name="connsiteY15" fmla="*/ 12724059 h 13618868"/>
              <a:gd name="connsiteX16" fmla="*/ 7671 w 7944708"/>
              <a:gd name="connsiteY16" fmla="*/ 4718907 h 13618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44707" h="13618868">
                <a:moveTo>
                  <a:pt x="0" y="4685805"/>
                </a:moveTo>
                <a:lnTo>
                  <a:pt x="1357604" y="0"/>
                </a:lnTo>
                <a:lnTo>
                  <a:pt x="4049990" y="780056"/>
                </a:lnTo>
                <a:lnTo>
                  <a:pt x="4162100" y="1058737"/>
                </a:lnTo>
                <a:cubicBezTo>
                  <a:pt x="4806345" y="2617724"/>
                  <a:pt x="5521223" y="4153526"/>
                  <a:pt x="6321097" y="5355046"/>
                </a:cubicBezTo>
                <a:cubicBezTo>
                  <a:pt x="6072429" y="4057350"/>
                  <a:pt x="5720718" y="2665455"/>
                  <a:pt x="5623247" y="1545335"/>
                </a:cubicBezTo>
                <a:lnTo>
                  <a:pt x="5602778" y="1229940"/>
                </a:lnTo>
                <a:lnTo>
                  <a:pt x="7944708" y="1908460"/>
                </a:lnTo>
                <a:lnTo>
                  <a:pt x="5453795" y="10505918"/>
                </a:lnTo>
                <a:lnTo>
                  <a:pt x="5088659" y="9925772"/>
                </a:lnTo>
                <a:cubicBezTo>
                  <a:pt x="4087604" y="8295081"/>
                  <a:pt x="3029733" y="6270664"/>
                  <a:pt x="2348310" y="4969698"/>
                </a:cubicBezTo>
                <a:cubicBezTo>
                  <a:pt x="2113685" y="4521756"/>
                  <a:pt x="3783862" y="9322882"/>
                  <a:pt x="4916023" y="12050905"/>
                </a:cubicBezTo>
                <a:lnTo>
                  <a:pt x="4969351" y="12177989"/>
                </a:lnTo>
                <a:lnTo>
                  <a:pt x="4551890" y="13618868"/>
                </a:lnTo>
                <a:lnTo>
                  <a:pt x="2127054" y="12916328"/>
                </a:lnTo>
                <a:lnTo>
                  <a:pt x="2070213" y="12724059"/>
                </a:lnTo>
                <a:cubicBezTo>
                  <a:pt x="1303556" y="10084950"/>
                  <a:pt x="552023" y="7053271"/>
                  <a:pt x="7671" y="4718907"/>
                </a:cubicBezTo>
                <a:close/>
              </a:path>
            </a:pathLst>
          </a:custGeom>
          <a:gradFill>
            <a:gsLst>
              <a:gs pos="0">
                <a:srgbClr val="00316C"/>
              </a:gs>
              <a:gs pos="15000">
                <a:srgbClr val="01326E"/>
              </a:gs>
              <a:gs pos="30000">
                <a:srgbClr val="063878"/>
              </a:gs>
              <a:gs pos="78000">
                <a:srgbClr val="0F4287"/>
              </a:gs>
            </a:gsLst>
            <a:lin ang="15000009" scaled="1"/>
          </a:gradFill>
          <a:ln w="15187" cap="flat">
            <a:noFill/>
            <a:prstDash val="solid"/>
            <a:miter/>
          </a:ln>
        </p:spPr>
        <p:txBody>
          <a:bodyPr rtlCol="0" anchor="ctr"/>
          <a:lstStyle/>
          <a:p>
            <a:endParaRPr lang="en-US"/>
          </a:p>
        </p:txBody>
      </p:sp>
      <p:sp>
        <p:nvSpPr>
          <p:cNvPr id="10" name="Page Number">
            <a:extLst>
              <a:ext uri="{FF2B5EF4-FFF2-40B4-BE49-F238E27FC236}">
                <a16:creationId xmlns:a16="http://schemas.microsoft.com/office/drawing/2014/main" id="{5B0DC7E5-022C-E336-ADE4-61DCBE11E4B8}"/>
              </a:ext>
            </a:extLst>
          </p:cNvPr>
          <p:cNvSpPr txBox="1"/>
          <p:nvPr/>
        </p:nvSpPr>
        <p:spPr>
          <a:xfrm>
            <a:off x="11233601" y="6525344"/>
            <a:ext cx="406400" cy="141577"/>
          </a:xfrm>
          <a:prstGeom prst="rect">
            <a:avLst/>
          </a:prstGeom>
          <a:noFill/>
        </p:spPr>
        <p:txBody>
          <a:bodyPr vert="horz" wrap="square" lIns="0" tIns="0" rIns="0" bIns="0" rtlCol="0">
            <a:noAutofit/>
          </a:bodyPr>
          <a:lstStyle/>
          <a:p>
            <a:pPr algn="r">
              <a:lnSpc>
                <a:spcPct val="100000"/>
              </a:lnSpc>
              <a:spcAft>
                <a:spcPct val="0"/>
              </a:spcAft>
            </a:pPr>
            <a:fld id="{28EFE765-FF9D-4A30-9EA2-0EADEF4E4456}" type="slidenum">
              <a:rPr lang="en-GB" sz="900" kern="1200" baseline="0">
                <a:solidFill>
                  <a:schemeClr val="tx1"/>
                </a:solidFill>
                <a:latin typeface="+mn-lt"/>
                <a:ea typeface="+mn-ea"/>
                <a:cs typeface="+mn-cs"/>
              </a:rPr>
              <a:pPr algn="r">
                <a:lnSpc>
                  <a:spcPct val="100000"/>
                </a:lnSpc>
                <a:spcAft>
                  <a:spcPct val="0"/>
                </a:spcAft>
              </a:pPr>
              <a:t>‹#›</a:t>
            </a:fld>
            <a:endParaRPr lang="en-GB" sz="900" kern="1200" baseline="0">
              <a:solidFill>
                <a:schemeClr val="tx1"/>
              </a:solidFill>
              <a:latin typeface="+mn-lt"/>
              <a:ea typeface="+mn-ea"/>
              <a:cs typeface="+mn-cs"/>
            </a:endParaRPr>
          </a:p>
        </p:txBody>
      </p:sp>
      <p:sp>
        <p:nvSpPr>
          <p:cNvPr id="12" name="Content Right">
            <a:extLst>
              <a:ext uri="{FF2B5EF4-FFF2-40B4-BE49-F238E27FC236}">
                <a16:creationId xmlns:a16="http://schemas.microsoft.com/office/drawing/2014/main" id="{7C386E73-9374-BBFB-A747-8E349BFAA0FE}"/>
              </a:ext>
            </a:extLst>
          </p:cNvPr>
          <p:cNvSpPr>
            <a:spLocks noGrp="1"/>
          </p:cNvSpPr>
          <p:nvPr>
            <p:ph type="body" sz="quarter" idx="15"/>
          </p:nvPr>
        </p:nvSpPr>
        <p:spPr>
          <a:xfrm>
            <a:off x="6555200" y="4497021"/>
            <a:ext cx="3860800" cy="1466293"/>
          </a:xfrm>
          <a:prstGeom prst="rect">
            <a:avLst/>
          </a:prstGeom>
        </p:spPr>
        <p:txBody>
          <a:bodyPr/>
          <a:lstStyle>
            <a:lvl1pPr>
              <a:spcBef>
                <a:spcPts val="200"/>
              </a:spcBef>
              <a:spcAft>
                <a:spcPts val="200"/>
              </a:spcAft>
              <a:defRPr sz="1800" baseline="0">
                <a:solidFill>
                  <a:schemeClr val="tx1"/>
                </a:solidFill>
                <a:latin typeface="+mn-lt"/>
                <a:ea typeface="+mn-ea"/>
                <a:cs typeface="+mn-cs"/>
              </a:defRPr>
            </a:lvl1pPr>
            <a:lvl2pPr>
              <a:spcBef>
                <a:spcPts val="200"/>
              </a:spcBef>
              <a:spcAft>
                <a:spcPts val="200"/>
              </a:spcAft>
              <a:buClr>
                <a:schemeClr val="tx1"/>
              </a:buClr>
              <a:defRPr sz="1800" baseline="0">
                <a:solidFill>
                  <a:schemeClr val="tx1"/>
                </a:solidFill>
                <a:latin typeface="+mn-lt"/>
                <a:ea typeface="+mn-ea"/>
                <a:cs typeface="+mn-cs"/>
              </a:defRPr>
            </a:lvl2pPr>
            <a:lvl3pPr>
              <a:spcBef>
                <a:spcPts val="200"/>
              </a:spcBef>
              <a:spcAft>
                <a:spcPts val="200"/>
              </a:spcAft>
              <a:defRPr sz="1800" baseline="0">
                <a:solidFill>
                  <a:schemeClr val="tx1"/>
                </a:solidFill>
                <a:latin typeface="+mn-lt"/>
                <a:ea typeface="+mn-ea"/>
                <a:cs typeface="+mn-cs"/>
              </a:defRPr>
            </a:lvl3pPr>
            <a:lvl4pPr>
              <a:spcBef>
                <a:spcPts val="200"/>
              </a:spcBef>
              <a:spcAft>
                <a:spcPts val="200"/>
              </a:spcAft>
              <a:defRPr sz="1800" baseline="0">
                <a:solidFill>
                  <a:schemeClr val="tx1"/>
                </a:solidFill>
                <a:latin typeface="+mn-lt"/>
                <a:ea typeface="+mn-ea"/>
                <a:cs typeface="+mn-cs"/>
              </a:defRPr>
            </a:lvl4pPr>
            <a:lvl5pPr>
              <a:spcBef>
                <a:spcPts val="600"/>
              </a:spcBef>
              <a:spcAft>
                <a:spcPts val="200"/>
              </a:spcAft>
              <a:defRPr sz="1800" baseline="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9" name="Content Left">
            <a:extLst>
              <a:ext uri="{FF2B5EF4-FFF2-40B4-BE49-F238E27FC236}">
                <a16:creationId xmlns:a16="http://schemas.microsoft.com/office/drawing/2014/main" id="{4A32F4B5-2541-213E-96AA-F00FB8F19FDB}"/>
              </a:ext>
            </a:extLst>
          </p:cNvPr>
          <p:cNvSpPr>
            <a:spLocks noGrp="1"/>
          </p:cNvSpPr>
          <p:nvPr>
            <p:ph type="body" sz="quarter" idx="10"/>
          </p:nvPr>
        </p:nvSpPr>
        <p:spPr>
          <a:xfrm>
            <a:off x="1776000" y="4497021"/>
            <a:ext cx="3860800" cy="1466293"/>
          </a:xfrm>
          <a:prstGeom prst="rect">
            <a:avLst/>
          </a:prstGeom>
        </p:spPr>
        <p:txBody>
          <a:bodyPr/>
          <a:lstStyle>
            <a:lvl1pPr>
              <a:spcBef>
                <a:spcPts val="200"/>
              </a:spcBef>
              <a:spcAft>
                <a:spcPts val="200"/>
              </a:spcAft>
              <a:defRPr sz="1800" baseline="0">
                <a:solidFill>
                  <a:schemeClr val="tx1"/>
                </a:solidFill>
                <a:latin typeface="+mn-lt"/>
                <a:ea typeface="+mn-ea"/>
                <a:cs typeface="+mn-cs"/>
              </a:defRPr>
            </a:lvl1pPr>
            <a:lvl2pPr>
              <a:spcBef>
                <a:spcPts val="200"/>
              </a:spcBef>
              <a:spcAft>
                <a:spcPts val="200"/>
              </a:spcAft>
              <a:buClr>
                <a:schemeClr val="tx1"/>
              </a:buClr>
              <a:defRPr sz="1800" baseline="0">
                <a:solidFill>
                  <a:schemeClr val="tx1"/>
                </a:solidFill>
                <a:latin typeface="+mn-lt"/>
                <a:ea typeface="+mn-ea"/>
                <a:cs typeface="+mn-cs"/>
              </a:defRPr>
            </a:lvl2pPr>
            <a:lvl3pPr>
              <a:spcBef>
                <a:spcPts val="200"/>
              </a:spcBef>
              <a:spcAft>
                <a:spcPts val="200"/>
              </a:spcAft>
              <a:defRPr sz="1800" baseline="0">
                <a:solidFill>
                  <a:schemeClr val="tx1"/>
                </a:solidFill>
                <a:latin typeface="+mn-lt"/>
                <a:ea typeface="+mn-ea"/>
                <a:cs typeface="+mn-cs"/>
              </a:defRPr>
            </a:lvl3pPr>
            <a:lvl4pPr>
              <a:spcBef>
                <a:spcPts val="200"/>
              </a:spcBef>
              <a:spcAft>
                <a:spcPts val="200"/>
              </a:spcAft>
              <a:defRPr sz="1800" baseline="0">
                <a:solidFill>
                  <a:schemeClr val="tx1"/>
                </a:solidFill>
                <a:latin typeface="+mn-lt"/>
                <a:ea typeface="+mn-ea"/>
                <a:cs typeface="+mn-cs"/>
              </a:defRPr>
            </a:lvl4pPr>
            <a:lvl5pPr>
              <a:spcBef>
                <a:spcPts val="600"/>
              </a:spcBef>
              <a:spcAft>
                <a:spcPts val="200"/>
              </a:spcAft>
              <a:defRPr sz="1800" baseline="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lus Content">
            <a:extLst>
              <a:ext uri="{FF2B5EF4-FFF2-40B4-BE49-F238E27FC236}">
                <a16:creationId xmlns:a16="http://schemas.microsoft.com/office/drawing/2014/main" id="{8CB23AF2-DD56-8970-5A18-031902AD9196}"/>
              </a:ext>
            </a:extLst>
          </p:cNvPr>
          <p:cNvSpPr>
            <a:spLocks noGrp="1"/>
          </p:cNvSpPr>
          <p:nvPr>
            <p:ph type="body" sz="quarter" idx="20" hasCustomPrompt="1"/>
          </p:nvPr>
        </p:nvSpPr>
        <p:spPr>
          <a:xfrm>
            <a:off x="1776000" y="2662992"/>
            <a:ext cx="8639999" cy="1321965"/>
          </a:xfrm>
        </p:spPr>
        <p:txBody>
          <a:bodyPr anchor="ctr">
            <a:spAutoFit/>
          </a:bodyPr>
          <a:lstStyle>
            <a:lvl1pPr algn="ctr">
              <a:lnSpc>
                <a:spcPct val="105000"/>
              </a:lnSpc>
              <a:spcBef>
                <a:spcPts val="1200"/>
              </a:spcBef>
              <a:spcAft>
                <a:spcPct val="0"/>
              </a:spcAft>
              <a:defRPr sz="8800">
                <a:solidFill>
                  <a:schemeClr val="tx1"/>
                </a:solidFill>
                <a:latin typeface="+mj-lt"/>
              </a:defRPr>
            </a:lvl1pPr>
            <a:lvl2pPr marL="0" indent="0" algn="ctr">
              <a:lnSpc>
                <a:spcPct val="105000"/>
              </a:lnSpc>
              <a:buFontTx/>
              <a:buNone/>
              <a:defRPr sz="8800">
                <a:solidFill>
                  <a:schemeClr val="accent2"/>
                </a:solidFill>
                <a:latin typeface="+mj-lt"/>
              </a:defRPr>
            </a:lvl2pPr>
            <a:lvl3pPr marL="0" indent="0" algn="ctr">
              <a:spcBef>
                <a:spcPts val="1200"/>
              </a:spcBef>
              <a:spcAft>
                <a:spcPct val="0"/>
              </a:spcAft>
              <a:buFontTx/>
              <a:buNone/>
              <a:defRPr sz="4600">
                <a:solidFill>
                  <a:schemeClr val="tx1"/>
                </a:solidFill>
                <a:latin typeface="+mj-lt"/>
              </a:defRPr>
            </a:lvl3pPr>
            <a:lvl4pPr marL="0" indent="0" algn="ctr">
              <a:spcBef>
                <a:spcPts val="1200"/>
              </a:spcBef>
              <a:buClr>
                <a:schemeClr val="tx2"/>
              </a:buClr>
              <a:buFontTx/>
              <a:buNone/>
              <a:defRPr sz="4600">
                <a:solidFill>
                  <a:schemeClr val="accent2"/>
                </a:solidFill>
                <a:latin typeface="+mj-lt"/>
              </a:defRPr>
            </a:lvl4pPr>
            <a:lvl5pPr marL="0" indent="0" algn="l">
              <a:spcBef>
                <a:spcPts val="1200"/>
              </a:spcBef>
              <a:spcAft>
                <a:spcPct val="0"/>
              </a:spcAft>
              <a:buClr>
                <a:schemeClr val="tx2"/>
              </a:buClr>
              <a:buFontTx/>
              <a:buNone/>
              <a:defRPr sz="1800" b="0">
                <a:solidFill>
                  <a:schemeClr val="tx1"/>
                </a:solidFill>
                <a:latin typeface="+mn-lt"/>
              </a:defRPr>
            </a:lvl5pPr>
            <a:lvl6pPr marL="0" indent="0" algn="l">
              <a:spcBef>
                <a:spcPts val="1200"/>
              </a:spcBef>
              <a:spcAft>
                <a:spcPct val="0"/>
              </a:spcAft>
              <a:buFontTx/>
              <a:buNone/>
              <a:defRPr sz="1800" b="0" baseline="0">
                <a:solidFill>
                  <a:schemeClr val="accent2"/>
                </a:solidFill>
                <a:latin typeface="+mn-lt"/>
              </a:defRPr>
            </a:lvl6pPr>
            <a:lvl7pPr marL="0" indent="0" algn="ctr">
              <a:spcBef>
                <a:spcPts val="1200"/>
              </a:spcBef>
              <a:buFontTx/>
              <a:buNone/>
              <a:defRPr sz="1800">
                <a:solidFill>
                  <a:schemeClr val="tx1"/>
                </a:solidFill>
                <a:latin typeface="+mn-lt"/>
              </a:defRPr>
            </a:lvl7pPr>
            <a:lvl8pPr marL="0" indent="0" algn="ctr">
              <a:spcBef>
                <a:spcPts val="1200"/>
              </a:spcBef>
              <a:buFontTx/>
              <a:buNone/>
              <a:defRPr sz="1800">
                <a:solidFill>
                  <a:schemeClr val="accent2"/>
                </a:solidFill>
                <a:latin typeface="+mn-lt"/>
              </a:defRPr>
            </a:lvl8pPr>
            <a:lvl9pPr algn="ctr">
              <a:defRPr/>
            </a:lvl9pPr>
          </a:lstStyle>
          <a:p>
            <a:pPr lvl="0"/>
            <a:r>
              <a:rPr lang="en-GB"/>
              <a:t>Headline/Quote</a:t>
            </a:r>
          </a:p>
        </p:txBody>
      </p:sp>
    </p:spTree>
    <p:extLst>
      <p:ext uri="{BB962C8B-B14F-4D97-AF65-F5344CB8AC3E}">
        <p14:creationId xmlns:p14="http://schemas.microsoft.com/office/powerpoint/2010/main" val="31362806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Highlight Dark Blue">
    <p:bg>
      <p:bgPr>
        <a:solidFill>
          <a:schemeClr val="bg2"/>
        </a:solidFill>
        <a:effectLst/>
      </p:bgPr>
    </p:bg>
    <p:spTree>
      <p:nvGrpSpPr>
        <p:cNvPr id="1" name=""/>
        <p:cNvGrpSpPr/>
        <p:nvPr/>
      </p:nvGrpSpPr>
      <p:grpSpPr>
        <a:xfrm>
          <a:off x="0" y="0"/>
          <a:ext cx="0" cy="0"/>
          <a:chOff x="0" y="0"/>
          <a:chExt cx="0" cy="0"/>
        </a:xfrm>
      </p:grpSpPr>
      <p:sp>
        <p:nvSpPr>
          <p:cNvPr id="17" name="Squiggle">
            <a:extLst>
              <a:ext uri="{FF2B5EF4-FFF2-40B4-BE49-F238E27FC236}">
                <a16:creationId xmlns:a16="http://schemas.microsoft.com/office/drawing/2014/main" id="{1E6DD7F4-E2C2-F58B-157D-CC07C47C23C1}"/>
              </a:ext>
            </a:extLst>
          </p:cNvPr>
          <p:cNvSpPr/>
          <p:nvPr/>
        </p:nvSpPr>
        <p:spPr>
          <a:xfrm>
            <a:off x="1" y="0"/>
            <a:ext cx="12191999" cy="6191520"/>
          </a:xfrm>
          <a:custGeom>
            <a:avLst/>
            <a:gdLst>
              <a:gd name="connsiteX0" fmla="*/ 6714175 w 12191999"/>
              <a:gd name="connsiteY0" fmla="*/ 0 h 6191520"/>
              <a:gd name="connsiteX1" fmla="*/ 8050801 w 12191999"/>
              <a:gd name="connsiteY1" fmla="*/ 0 h 6191520"/>
              <a:gd name="connsiteX2" fmla="*/ 10623550 w 12191999"/>
              <a:gd name="connsiteY2" fmla="*/ 692150 h 6191520"/>
              <a:gd name="connsiteX3" fmla="*/ 11134726 w 12191999"/>
              <a:gd name="connsiteY3" fmla="*/ 876300 h 6191520"/>
              <a:gd name="connsiteX4" fmla="*/ 10858501 w 12191999"/>
              <a:gd name="connsiteY4" fmla="*/ 2076451 h 6191520"/>
              <a:gd name="connsiteX5" fmla="*/ 8181976 w 12191999"/>
              <a:gd name="connsiteY5" fmla="*/ 2343151 h 6191520"/>
              <a:gd name="connsiteX6" fmla="*/ 12039359 w 12191999"/>
              <a:gd name="connsiteY6" fmla="*/ 2642538 h 6191520"/>
              <a:gd name="connsiteX7" fmla="*/ 12191999 w 12191999"/>
              <a:gd name="connsiteY7" fmla="*/ 2680470 h 6191520"/>
              <a:gd name="connsiteX8" fmla="*/ 12191999 w 12191999"/>
              <a:gd name="connsiteY8" fmla="*/ 4461251 h 6191520"/>
              <a:gd name="connsiteX9" fmla="*/ 12029198 w 12191999"/>
              <a:gd name="connsiteY9" fmla="*/ 4498611 h 6191520"/>
              <a:gd name="connsiteX10" fmla="*/ 3400734 w 12191999"/>
              <a:gd name="connsiteY10" fmla="*/ 4691832 h 6191520"/>
              <a:gd name="connsiteX11" fmla="*/ 10825317 w 12191999"/>
              <a:gd name="connsiteY11" fmla="*/ 4906297 h 6191520"/>
              <a:gd name="connsiteX12" fmla="*/ 10753725 w 12191999"/>
              <a:gd name="connsiteY12" fmla="*/ 6188486 h 6191520"/>
              <a:gd name="connsiteX13" fmla="*/ 483866 w 12191999"/>
              <a:gd name="connsiteY13" fmla="*/ 5753127 h 6191520"/>
              <a:gd name="connsiteX14" fmla="*/ 0 w 12191999"/>
              <a:gd name="connsiteY14" fmla="*/ 5700385 h 6191520"/>
              <a:gd name="connsiteX15" fmla="*/ 0 w 12191999"/>
              <a:gd name="connsiteY15" fmla="*/ 3731019 h 6191520"/>
              <a:gd name="connsiteX16" fmla="*/ 92261 w 12191999"/>
              <a:gd name="connsiteY16" fmla="*/ 3708145 h 6191520"/>
              <a:gd name="connsiteX17" fmla="*/ 1002891 w 12191999"/>
              <a:gd name="connsiteY17" fmla="*/ 3618271 h 6191520"/>
              <a:gd name="connsiteX18" fmla="*/ 25475 w 12191999"/>
              <a:gd name="connsiteY18" fmla="*/ 3349301 h 6191520"/>
              <a:gd name="connsiteX19" fmla="*/ 0 w 12191999"/>
              <a:gd name="connsiteY19" fmla="*/ 3338246 h 6191520"/>
              <a:gd name="connsiteX20" fmla="*/ 0 w 12191999"/>
              <a:gd name="connsiteY20" fmla="*/ 2172532 h 6191520"/>
              <a:gd name="connsiteX21" fmla="*/ 31629 w 12191999"/>
              <a:gd name="connsiteY21" fmla="*/ 2142588 h 6191520"/>
              <a:gd name="connsiteX22" fmla="*/ 7181852 w 12191999"/>
              <a:gd name="connsiteY22" fmla="*/ 1143000 h 6191520"/>
              <a:gd name="connsiteX23" fmla="*/ 6684468 w 12191999"/>
              <a:gd name="connsiteY23" fmla="*/ 45095 h 6191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1999" h="6191520">
                <a:moveTo>
                  <a:pt x="6714175" y="0"/>
                </a:moveTo>
                <a:lnTo>
                  <a:pt x="8050801" y="0"/>
                </a:lnTo>
                <a:lnTo>
                  <a:pt x="10623550" y="692150"/>
                </a:lnTo>
                <a:cubicBezTo>
                  <a:pt x="10793942" y="753533"/>
                  <a:pt x="10856384" y="764117"/>
                  <a:pt x="11134726" y="876300"/>
                </a:cubicBezTo>
                <a:cubicBezTo>
                  <a:pt x="11772901" y="1309688"/>
                  <a:pt x="11091478" y="2063050"/>
                  <a:pt x="10858501" y="2076451"/>
                </a:cubicBezTo>
                <a:cubicBezTo>
                  <a:pt x="10637716" y="2089151"/>
                  <a:pt x="9112251" y="2251076"/>
                  <a:pt x="8181976" y="2343151"/>
                </a:cubicBezTo>
                <a:cubicBezTo>
                  <a:pt x="9457135" y="2448720"/>
                  <a:pt x="10834391" y="2371974"/>
                  <a:pt x="12039359" y="2642538"/>
                </a:cubicBezTo>
                <a:lnTo>
                  <a:pt x="12191999" y="2680470"/>
                </a:lnTo>
                <a:lnTo>
                  <a:pt x="12191999" y="4461251"/>
                </a:lnTo>
                <a:lnTo>
                  <a:pt x="12029198" y="4498611"/>
                </a:lnTo>
                <a:cubicBezTo>
                  <a:pt x="10052580" y="4896281"/>
                  <a:pt x="3595103" y="4625802"/>
                  <a:pt x="3400734" y="4691832"/>
                </a:cubicBezTo>
                <a:cubicBezTo>
                  <a:pt x="3200095" y="4759992"/>
                  <a:pt x="9835794" y="4794506"/>
                  <a:pt x="10825317" y="4906297"/>
                </a:cubicBezTo>
                <a:cubicBezTo>
                  <a:pt x="11814840" y="5018088"/>
                  <a:pt x="11251074" y="6260794"/>
                  <a:pt x="10753725" y="6188486"/>
                </a:cubicBezTo>
                <a:cubicBezTo>
                  <a:pt x="8313425" y="6094676"/>
                  <a:pt x="4231215" y="6130491"/>
                  <a:pt x="483866" y="5753127"/>
                </a:cubicBezTo>
                <a:lnTo>
                  <a:pt x="0" y="5700385"/>
                </a:lnTo>
                <a:lnTo>
                  <a:pt x="0" y="3731019"/>
                </a:lnTo>
                <a:lnTo>
                  <a:pt x="92261" y="3708145"/>
                </a:lnTo>
                <a:cubicBezTo>
                  <a:pt x="430911" y="3635859"/>
                  <a:pt x="902136" y="3639908"/>
                  <a:pt x="1002891" y="3618271"/>
                </a:cubicBezTo>
                <a:cubicBezTo>
                  <a:pt x="992048" y="3621510"/>
                  <a:pt x="391872" y="3496392"/>
                  <a:pt x="25475" y="3349301"/>
                </a:cubicBezTo>
                <a:lnTo>
                  <a:pt x="0" y="3338246"/>
                </a:lnTo>
                <a:lnTo>
                  <a:pt x="0" y="2172532"/>
                </a:lnTo>
                <a:lnTo>
                  <a:pt x="31629" y="2142588"/>
                </a:lnTo>
                <a:cubicBezTo>
                  <a:pt x="905081" y="1446802"/>
                  <a:pt x="4950569" y="1355124"/>
                  <a:pt x="7181852" y="1143000"/>
                </a:cubicBezTo>
                <a:cubicBezTo>
                  <a:pt x="6322221" y="1016794"/>
                  <a:pt x="6432353" y="456605"/>
                  <a:pt x="6684468" y="45095"/>
                </a:cubicBezTo>
                <a:close/>
              </a:path>
            </a:pathLst>
          </a:custGeom>
          <a:gradFill flip="none" rotWithShape="1">
            <a:gsLst>
              <a:gs pos="77000">
                <a:srgbClr val="3A72D2"/>
              </a:gs>
              <a:gs pos="37000">
                <a:schemeClr val="accent1"/>
              </a:gs>
              <a:gs pos="0">
                <a:schemeClr val="accent1">
                  <a:lumMod val="50000"/>
                </a:schemeClr>
              </a:gs>
              <a:gs pos="100000">
                <a:srgbClr val="508CFB"/>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Content Left">
            <a:extLst>
              <a:ext uri="{FF2B5EF4-FFF2-40B4-BE49-F238E27FC236}">
                <a16:creationId xmlns:a16="http://schemas.microsoft.com/office/drawing/2014/main" id="{91FED144-706E-40BF-05AD-D824465899F7}"/>
              </a:ext>
            </a:extLst>
          </p:cNvPr>
          <p:cNvSpPr>
            <a:spLocks noGrp="1"/>
          </p:cNvSpPr>
          <p:nvPr>
            <p:ph type="body" sz="quarter" idx="10"/>
          </p:nvPr>
        </p:nvSpPr>
        <p:spPr>
          <a:xfrm>
            <a:off x="1776000" y="4497021"/>
            <a:ext cx="3860800" cy="1466293"/>
          </a:xfrm>
          <a:prstGeom prst="rect">
            <a:avLst/>
          </a:prstGeom>
        </p:spPr>
        <p:txBody>
          <a:bodyPr/>
          <a:lstStyle>
            <a:lvl1pPr>
              <a:spcBef>
                <a:spcPts val="200"/>
              </a:spcBef>
              <a:spcAft>
                <a:spcPts val="200"/>
              </a:spcAft>
              <a:defRPr sz="1800" baseline="0">
                <a:solidFill>
                  <a:schemeClr val="tx1"/>
                </a:solidFill>
                <a:latin typeface="+mn-lt"/>
                <a:ea typeface="+mn-ea"/>
                <a:cs typeface="+mn-cs"/>
              </a:defRPr>
            </a:lvl1pPr>
            <a:lvl2pPr>
              <a:spcBef>
                <a:spcPts val="200"/>
              </a:spcBef>
              <a:spcAft>
                <a:spcPts val="200"/>
              </a:spcAft>
              <a:buClr>
                <a:schemeClr val="tx1"/>
              </a:buClr>
              <a:defRPr sz="1800" baseline="0">
                <a:solidFill>
                  <a:schemeClr val="tx1"/>
                </a:solidFill>
                <a:latin typeface="+mn-lt"/>
                <a:ea typeface="+mn-ea"/>
                <a:cs typeface="+mn-cs"/>
              </a:defRPr>
            </a:lvl2pPr>
            <a:lvl3pPr>
              <a:spcBef>
                <a:spcPts val="200"/>
              </a:spcBef>
              <a:spcAft>
                <a:spcPts val="200"/>
              </a:spcAft>
              <a:defRPr sz="1800" baseline="0">
                <a:solidFill>
                  <a:schemeClr val="tx1"/>
                </a:solidFill>
                <a:latin typeface="+mn-lt"/>
                <a:ea typeface="+mn-ea"/>
                <a:cs typeface="+mn-cs"/>
              </a:defRPr>
            </a:lvl3pPr>
            <a:lvl4pPr>
              <a:spcBef>
                <a:spcPts val="200"/>
              </a:spcBef>
              <a:spcAft>
                <a:spcPts val="200"/>
              </a:spcAft>
              <a:defRPr sz="1800" baseline="0">
                <a:solidFill>
                  <a:schemeClr val="tx1"/>
                </a:solidFill>
                <a:latin typeface="+mn-lt"/>
                <a:ea typeface="+mn-ea"/>
                <a:cs typeface="+mn-cs"/>
              </a:defRPr>
            </a:lvl4pPr>
            <a:lvl5pPr>
              <a:spcBef>
                <a:spcPts val="600"/>
              </a:spcBef>
              <a:spcAft>
                <a:spcPts val="200"/>
              </a:spcAft>
              <a:defRPr sz="1800" baseline="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3" name="Content Right">
            <a:extLst>
              <a:ext uri="{FF2B5EF4-FFF2-40B4-BE49-F238E27FC236}">
                <a16:creationId xmlns:a16="http://schemas.microsoft.com/office/drawing/2014/main" id="{47D136EB-E265-B02D-31FA-D2556BEE9F6A}"/>
              </a:ext>
            </a:extLst>
          </p:cNvPr>
          <p:cNvSpPr>
            <a:spLocks noGrp="1"/>
          </p:cNvSpPr>
          <p:nvPr>
            <p:ph type="body" sz="quarter" idx="15"/>
          </p:nvPr>
        </p:nvSpPr>
        <p:spPr>
          <a:xfrm>
            <a:off x="6555200" y="4497021"/>
            <a:ext cx="3860800" cy="1466293"/>
          </a:xfrm>
          <a:prstGeom prst="rect">
            <a:avLst/>
          </a:prstGeom>
        </p:spPr>
        <p:txBody>
          <a:bodyPr/>
          <a:lstStyle>
            <a:lvl1pPr>
              <a:spcBef>
                <a:spcPts val="200"/>
              </a:spcBef>
              <a:spcAft>
                <a:spcPts val="200"/>
              </a:spcAft>
              <a:defRPr sz="1800" baseline="0">
                <a:solidFill>
                  <a:schemeClr val="tx1"/>
                </a:solidFill>
                <a:latin typeface="+mn-lt"/>
                <a:ea typeface="+mn-ea"/>
                <a:cs typeface="+mn-cs"/>
              </a:defRPr>
            </a:lvl1pPr>
            <a:lvl2pPr>
              <a:spcBef>
                <a:spcPts val="200"/>
              </a:spcBef>
              <a:spcAft>
                <a:spcPts val="200"/>
              </a:spcAft>
              <a:buClr>
                <a:schemeClr val="tx1"/>
              </a:buClr>
              <a:defRPr sz="1800" baseline="0">
                <a:solidFill>
                  <a:schemeClr val="tx1"/>
                </a:solidFill>
                <a:latin typeface="+mn-lt"/>
                <a:ea typeface="+mn-ea"/>
                <a:cs typeface="+mn-cs"/>
              </a:defRPr>
            </a:lvl2pPr>
            <a:lvl3pPr>
              <a:spcBef>
                <a:spcPts val="200"/>
              </a:spcBef>
              <a:spcAft>
                <a:spcPts val="200"/>
              </a:spcAft>
              <a:defRPr sz="1800" baseline="0">
                <a:solidFill>
                  <a:schemeClr val="tx1"/>
                </a:solidFill>
                <a:latin typeface="+mn-lt"/>
                <a:ea typeface="+mn-ea"/>
                <a:cs typeface="+mn-cs"/>
              </a:defRPr>
            </a:lvl3pPr>
            <a:lvl4pPr>
              <a:spcBef>
                <a:spcPts val="200"/>
              </a:spcBef>
              <a:spcAft>
                <a:spcPts val="200"/>
              </a:spcAft>
              <a:defRPr sz="1800" baseline="0">
                <a:solidFill>
                  <a:schemeClr val="tx1"/>
                </a:solidFill>
                <a:latin typeface="+mn-lt"/>
                <a:ea typeface="+mn-ea"/>
                <a:cs typeface="+mn-cs"/>
              </a:defRPr>
            </a:lvl4pPr>
            <a:lvl5pPr>
              <a:spcBef>
                <a:spcPts val="600"/>
              </a:spcBef>
              <a:spcAft>
                <a:spcPts val="200"/>
              </a:spcAft>
              <a:defRPr sz="1800" baseline="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lus Content">
            <a:extLst>
              <a:ext uri="{FF2B5EF4-FFF2-40B4-BE49-F238E27FC236}">
                <a16:creationId xmlns:a16="http://schemas.microsoft.com/office/drawing/2014/main" id="{2BCE1666-68F9-B23D-25CA-48CFE4798B4E}"/>
              </a:ext>
            </a:extLst>
          </p:cNvPr>
          <p:cNvSpPr>
            <a:spLocks noGrp="1"/>
          </p:cNvSpPr>
          <p:nvPr>
            <p:ph type="body" sz="quarter" idx="20" hasCustomPrompt="1"/>
          </p:nvPr>
        </p:nvSpPr>
        <p:spPr>
          <a:xfrm>
            <a:off x="1776000" y="2662992"/>
            <a:ext cx="8639999" cy="1321965"/>
          </a:xfrm>
        </p:spPr>
        <p:txBody>
          <a:bodyPr anchor="ctr">
            <a:spAutoFit/>
          </a:bodyPr>
          <a:lstStyle>
            <a:lvl1pPr algn="ctr">
              <a:lnSpc>
                <a:spcPct val="105000"/>
              </a:lnSpc>
              <a:spcBef>
                <a:spcPts val="1200"/>
              </a:spcBef>
              <a:spcAft>
                <a:spcPct val="0"/>
              </a:spcAft>
              <a:defRPr sz="8800">
                <a:solidFill>
                  <a:schemeClr val="tx1"/>
                </a:solidFill>
                <a:latin typeface="+mj-lt"/>
              </a:defRPr>
            </a:lvl1pPr>
            <a:lvl2pPr marL="0" indent="0" algn="ctr">
              <a:lnSpc>
                <a:spcPct val="105000"/>
              </a:lnSpc>
              <a:buFontTx/>
              <a:buNone/>
              <a:defRPr sz="8800">
                <a:solidFill>
                  <a:schemeClr val="accent2"/>
                </a:solidFill>
                <a:latin typeface="+mj-lt"/>
              </a:defRPr>
            </a:lvl2pPr>
            <a:lvl3pPr marL="0" indent="0" algn="ctr">
              <a:spcBef>
                <a:spcPts val="1200"/>
              </a:spcBef>
              <a:spcAft>
                <a:spcPct val="0"/>
              </a:spcAft>
              <a:buFontTx/>
              <a:buNone/>
              <a:defRPr sz="4600">
                <a:solidFill>
                  <a:schemeClr val="tx1"/>
                </a:solidFill>
                <a:latin typeface="+mj-lt"/>
              </a:defRPr>
            </a:lvl3pPr>
            <a:lvl4pPr marL="0" indent="0" algn="ctr">
              <a:spcBef>
                <a:spcPts val="1200"/>
              </a:spcBef>
              <a:buClr>
                <a:schemeClr val="tx2"/>
              </a:buClr>
              <a:buFontTx/>
              <a:buNone/>
              <a:defRPr sz="4600">
                <a:solidFill>
                  <a:schemeClr val="accent2"/>
                </a:solidFill>
                <a:latin typeface="+mj-lt"/>
              </a:defRPr>
            </a:lvl4pPr>
            <a:lvl5pPr marL="0" indent="0" algn="l">
              <a:spcBef>
                <a:spcPts val="1200"/>
              </a:spcBef>
              <a:spcAft>
                <a:spcPct val="0"/>
              </a:spcAft>
              <a:buClr>
                <a:schemeClr val="tx2"/>
              </a:buClr>
              <a:buFontTx/>
              <a:buNone/>
              <a:defRPr sz="1800" b="0">
                <a:solidFill>
                  <a:schemeClr val="tx1"/>
                </a:solidFill>
                <a:latin typeface="+mn-lt"/>
              </a:defRPr>
            </a:lvl5pPr>
            <a:lvl6pPr marL="0" indent="0" algn="l">
              <a:spcBef>
                <a:spcPts val="1200"/>
              </a:spcBef>
              <a:spcAft>
                <a:spcPct val="0"/>
              </a:spcAft>
              <a:buFontTx/>
              <a:buNone/>
              <a:defRPr sz="1800" b="0" baseline="0">
                <a:solidFill>
                  <a:schemeClr val="accent2"/>
                </a:solidFill>
                <a:latin typeface="+mn-lt"/>
              </a:defRPr>
            </a:lvl6pPr>
            <a:lvl7pPr marL="0" indent="0" algn="ctr">
              <a:spcBef>
                <a:spcPts val="1200"/>
              </a:spcBef>
              <a:buFontTx/>
              <a:buNone/>
              <a:defRPr sz="1800">
                <a:solidFill>
                  <a:schemeClr val="tx1"/>
                </a:solidFill>
                <a:latin typeface="+mn-lt"/>
              </a:defRPr>
            </a:lvl7pPr>
            <a:lvl8pPr marL="0" indent="0" algn="ctr">
              <a:spcBef>
                <a:spcPts val="1200"/>
              </a:spcBef>
              <a:buFontTx/>
              <a:buNone/>
              <a:defRPr sz="1800">
                <a:solidFill>
                  <a:schemeClr val="accent2"/>
                </a:solidFill>
                <a:latin typeface="+mn-lt"/>
              </a:defRPr>
            </a:lvl8pPr>
            <a:lvl9pPr algn="ctr">
              <a:defRPr/>
            </a:lvl9pPr>
          </a:lstStyle>
          <a:p>
            <a:pPr lvl="0"/>
            <a:r>
              <a:rPr lang="en-GB"/>
              <a:t>Headline/Quote</a:t>
            </a:r>
          </a:p>
        </p:txBody>
      </p:sp>
    </p:spTree>
    <p:extLst>
      <p:ext uri="{BB962C8B-B14F-4D97-AF65-F5344CB8AC3E}">
        <p14:creationId xmlns:p14="http://schemas.microsoft.com/office/powerpoint/2010/main" val="3791755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BC white logo">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94DFF69-2016-9DA3-0C59-AD16B7737DF7}"/>
              </a:ext>
            </a:extLst>
          </p:cNvPr>
          <p:cNvSpPr>
            <a:spLocks noGrp="1"/>
          </p:cNvSpPr>
          <p:nvPr>
            <p:ph type="pic" sz="quarter" idx="10"/>
          </p:nvPr>
        </p:nvSpPr>
        <p:spPr>
          <a:xfrm>
            <a:off x="0" y="0"/>
            <a:ext cx="12192000" cy="6858000"/>
          </a:xfrm>
          <a:custGeom>
            <a:avLst/>
            <a:gdLst>
              <a:gd name="connsiteX0" fmla="*/ 10034885 w 12192000"/>
              <a:gd name="connsiteY0" fmla="*/ 1173187 h 6858000"/>
              <a:gd name="connsiteX1" fmla="*/ 10071020 w 12192000"/>
              <a:gd name="connsiteY1" fmla="*/ 1225500 h 6858000"/>
              <a:gd name="connsiteX2" fmla="*/ 10034015 w 12192000"/>
              <a:gd name="connsiteY2" fmla="*/ 1276551 h 6858000"/>
              <a:gd name="connsiteX3" fmla="*/ 9997039 w 12192000"/>
              <a:gd name="connsiteY3" fmla="*/ 1225500 h 6858000"/>
              <a:gd name="connsiteX4" fmla="*/ 10034885 w 12192000"/>
              <a:gd name="connsiteY4" fmla="*/ 1173187 h 6858000"/>
              <a:gd name="connsiteX5" fmla="*/ 10300888 w 12192000"/>
              <a:gd name="connsiteY5" fmla="*/ 1166404 h 6858000"/>
              <a:gd name="connsiteX6" fmla="*/ 10338314 w 12192000"/>
              <a:gd name="connsiteY6" fmla="*/ 1224659 h 6858000"/>
              <a:gd name="connsiteX7" fmla="*/ 10300888 w 12192000"/>
              <a:gd name="connsiteY7" fmla="*/ 1283334 h 6858000"/>
              <a:gd name="connsiteX8" fmla="*/ 10263882 w 12192000"/>
              <a:gd name="connsiteY8" fmla="*/ 1224659 h 6858000"/>
              <a:gd name="connsiteX9" fmla="*/ 10300888 w 12192000"/>
              <a:gd name="connsiteY9" fmla="*/ 1166404 h 6858000"/>
              <a:gd name="connsiteX10" fmla="*/ 9339940 w 12192000"/>
              <a:gd name="connsiteY10" fmla="*/ 1157461 h 6858000"/>
              <a:gd name="connsiteX11" fmla="*/ 9380757 w 12192000"/>
              <a:gd name="connsiteY11" fmla="*/ 1199568 h 6858000"/>
              <a:gd name="connsiteX12" fmla="*/ 9300833 w 12192000"/>
              <a:gd name="connsiteY12" fmla="*/ 1199568 h 6858000"/>
              <a:gd name="connsiteX13" fmla="*/ 9339940 w 12192000"/>
              <a:gd name="connsiteY13" fmla="*/ 1157461 h 6858000"/>
              <a:gd name="connsiteX14" fmla="*/ 10935718 w 12192000"/>
              <a:gd name="connsiteY14" fmla="*/ 1157431 h 6858000"/>
              <a:gd name="connsiteX15" fmla="*/ 10976535 w 12192000"/>
              <a:gd name="connsiteY15" fmla="*/ 1199538 h 6858000"/>
              <a:gd name="connsiteX16" fmla="*/ 10896611 w 12192000"/>
              <a:gd name="connsiteY16" fmla="*/ 1199538 h 6858000"/>
              <a:gd name="connsiteX17" fmla="*/ 10935718 w 12192000"/>
              <a:gd name="connsiteY17" fmla="*/ 1157431 h 6858000"/>
              <a:gd name="connsiteX18" fmla="*/ 10423850 w 12192000"/>
              <a:gd name="connsiteY18" fmla="*/ 1111961 h 6858000"/>
              <a:gd name="connsiteX19" fmla="*/ 10498282 w 12192000"/>
              <a:gd name="connsiteY19" fmla="*/ 1337777 h 6858000"/>
              <a:gd name="connsiteX20" fmla="*/ 10586279 w 12192000"/>
              <a:gd name="connsiteY20" fmla="*/ 1337777 h 6858000"/>
              <a:gd name="connsiteX21" fmla="*/ 10619053 w 12192000"/>
              <a:gd name="connsiteY21" fmla="*/ 1207222 h 6858000"/>
              <a:gd name="connsiteX22" fmla="*/ 10651767 w 12192000"/>
              <a:gd name="connsiteY22" fmla="*/ 1337777 h 6858000"/>
              <a:gd name="connsiteX23" fmla="*/ 10739794 w 12192000"/>
              <a:gd name="connsiteY23" fmla="*/ 1337777 h 6858000"/>
              <a:gd name="connsiteX24" fmla="*/ 10810774 w 12192000"/>
              <a:gd name="connsiteY24" fmla="*/ 1111961 h 6858000"/>
              <a:gd name="connsiteX25" fmla="*/ 10725358 w 12192000"/>
              <a:gd name="connsiteY25" fmla="*/ 1111961 h 6858000"/>
              <a:gd name="connsiteX26" fmla="*/ 10691774 w 12192000"/>
              <a:gd name="connsiteY26" fmla="*/ 1249750 h 6858000"/>
              <a:gd name="connsiteX27" fmla="*/ 10656899 w 12192000"/>
              <a:gd name="connsiteY27" fmla="*/ 1111961 h 6858000"/>
              <a:gd name="connsiteX28" fmla="*/ 10581207 w 12192000"/>
              <a:gd name="connsiteY28" fmla="*/ 1111961 h 6858000"/>
              <a:gd name="connsiteX29" fmla="*/ 10546332 w 12192000"/>
              <a:gd name="connsiteY29" fmla="*/ 1249750 h 6858000"/>
              <a:gd name="connsiteX30" fmla="*/ 10512718 w 12192000"/>
              <a:gd name="connsiteY30" fmla="*/ 1111961 h 6858000"/>
              <a:gd name="connsiteX31" fmla="*/ 10062497 w 12192000"/>
              <a:gd name="connsiteY31" fmla="*/ 1106019 h 6858000"/>
              <a:gd name="connsiteX32" fmla="*/ 9989386 w 12192000"/>
              <a:gd name="connsiteY32" fmla="*/ 1140894 h 6858000"/>
              <a:gd name="connsiteX33" fmla="*/ 9989386 w 12192000"/>
              <a:gd name="connsiteY33" fmla="*/ 1111961 h 6858000"/>
              <a:gd name="connsiteX34" fmla="*/ 9909882 w 12192000"/>
              <a:gd name="connsiteY34" fmla="*/ 1111961 h 6858000"/>
              <a:gd name="connsiteX35" fmla="*/ 9909882 w 12192000"/>
              <a:gd name="connsiteY35" fmla="*/ 1428325 h 6858000"/>
              <a:gd name="connsiteX36" fmla="*/ 9997039 w 12192000"/>
              <a:gd name="connsiteY36" fmla="*/ 1428325 h 6858000"/>
              <a:gd name="connsiteX37" fmla="*/ 9997039 w 12192000"/>
              <a:gd name="connsiteY37" fmla="*/ 1316498 h 6858000"/>
              <a:gd name="connsiteX38" fmla="*/ 10060816 w 12192000"/>
              <a:gd name="connsiteY38" fmla="*/ 1345400 h 6858000"/>
              <a:gd name="connsiteX39" fmla="*/ 10160758 w 12192000"/>
              <a:gd name="connsiteY39" fmla="*/ 1225500 h 6858000"/>
              <a:gd name="connsiteX40" fmla="*/ 10062526 w 12192000"/>
              <a:gd name="connsiteY40" fmla="*/ 1106019 h 6858000"/>
              <a:gd name="connsiteX41" fmla="*/ 11241367 w 12192000"/>
              <a:gd name="connsiteY41" fmla="*/ 1105989 h 6858000"/>
              <a:gd name="connsiteX42" fmla="*/ 11171197 w 12192000"/>
              <a:gd name="connsiteY42" fmla="*/ 1153199 h 6858000"/>
              <a:gd name="connsiteX43" fmla="*/ 11171197 w 12192000"/>
              <a:gd name="connsiteY43" fmla="*/ 1111931 h 6858000"/>
              <a:gd name="connsiteX44" fmla="*/ 11088272 w 12192000"/>
              <a:gd name="connsiteY44" fmla="*/ 1111931 h 6858000"/>
              <a:gd name="connsiteX45" fmla="*/ 11088272 w 12192000"/>
              <a:gd name="connsiteY45" fmla="*/ 1337747 h 6858000"/>
              <a:gd name="connsiteX46" fmla="*/ 11178401 w 12192000"/>
              <a:gd name="connsiteY46" fmla="*/ 1337747 h 6858000"/>
              <a:gd name="connsiteX47" fmla="*/ 11178401 w 12192000"/>
              <a:gd name="connsiteY47" fmla="*/ 1245068 h 6858000"/>
              <a:gd name="connsiteX48" fmla="*/ 11231133 w 12192000"/>
              <a:gd name="connsiteY48" fmla="*/ 1194436 h 6858000"/>
              <a:gd name="connsiteX49" fmla="*/ 11249441 w 12192000"/>
              <a:gd name="connsiteY49" fmla="*/ 1195727 h 6858000"/>
              <a:gd name="connsiteX50" fmla="*/ 11249441 w 12192000"/>
              <a:gd name="connsiteY50" fmla="*/ 1105989 h 6858000"/>
              <a:gd name="connsiteX51" fmla="*/ 9794543 w 12192000"/>
              <a:gd name="connsiteY51" fmla="*/ 1104818 h 6858000"/>
              <a:gd name="connsiteX52" fmla="*/ 9750724 w 12192000"/>
              <a:gd name="connsiteY52" fmla="*/ 1114392 h 6858000"/>
              <a:gd name="connsiteX53" fmla="*/ 9714949 w 12192000"/>
              <a:gd name="connsiteY53" fmla="*/ 1144375 h 6858000"/>
              <a:gd name="connsiteX54" fmla="*/ 9686317 w 12192000"/>
              <a:gd name="connsiteY54" fmla="*/ 1114602 h 6858000"/>
              <a:gd name="connsiteX55" fmla="*/ 9648171 w 12192000"/>
              <a:gd name="connsiteY55" fmla="*/ 1105238 h 6858000"/>
              <a:gd name="connsiteX56" fmla="*/ 9605372 w 12192000"/>
              <a:gd name="connsiteY56" fmla="*/ 1114813 h 6858000"/>
              <a:gd name="connsiteX57" fmla="*/ 9571878 w 12192000"/>
              <a:gd name="connsiteY57" fmla="*/ 1144405 h 6858000"/>
              <a:gd name="connsiteX58" fmla="*/ 9571878 w 12192000"/>
              <a:gd name="connsiteY58" fmla="*/ 1111301 h 6858000"/>
              <a:gd name="connsiteX59" fmla="*/ 9490634 w 12192000"/>
              <a:gd name="connsiteY59" fmla="*/ 1111301 h 6858000"/>
              <a:gd name="connsiteX60" fmla="*/ 9490634 w 12192000"/>
              <a:gd name="connsiteY60" fmla="*/ 1337777 h 6858000"/>
              <a:gd name="connsiteX61" fmla="*/ 9578721 w 12192000"/>
              <a:gd name="connsiteY61" fmla="*/ 1337777 h 6858000"/>
              <a:gd name="connsiteX62" fmla="*/ 9578721 w 12192000"/>
              <a:gd name="connsiteY62" fmla="*/ 1216105 h 6858000"/>
              <a:gd name="connsiteX63" fmla="*/ 9586464 w 12192000"/>
              <a:gd name="connsiteY63" fmla="*/ 1186303 h 6858000"/>
              <a:gd name="connsiteX64" fmla="*/ 9609094 w 12192000"/>
              <a:gd name="connsiteY64" fmla="*/ 1176098 h 6858000"/>
              <a:gd name="connsiteX65" fmla="*/ 9633164 w 12192000"/>
              <a:gd name="connsiteY65" fmla="*/ 1186213 h 6858000"/>
              <a:gd name="connsiteX66" fmla="*/ 9640517 w 12192000"/>
              <a:gd name="connsiteY66" fmla="*/ 1219647 h 6858000"/>
              <a:gd name="connsiteX67" fmla="*/ 9640517 w 12192000"/>
              <a:gd name="connsiteY67" fmla="*/ 1337777 h 6858000"/>
              <a:gd name="connsiteX68" fmla="*/ 9728184 w 12192000"/>
              <a:gd name="connsiteY68" fmla="*/ 1337777 h 6858000"/>
              <a:gd name="connsiteX69" fmla="*/ 9728184 w 12192000"/>
              <a:gd name="connsiteY69" fmla="*/ 1217366 h 6858000"/>
              <a:gd name="connsiteX70" fmla="*/ 9735838 w 12192000"/>
              <a:gd name="connsiteY70" fmla="*/ 1186123 h 6858000"/>
              <a:gd name="connsiteX71" fmla="*/ 9759818 w 12192000"/>
              <a:gd name="connsiteY71" fmla="*/ 1176098 h 6858000"/>
              <a:gd name="connsiteX72" fmla="*/ 9782868 w 12192000"/>
              <a:gd name="connsiteY72" fmla="*/ 1185703 h 6858000"/>
              <a:gd name="connsiteX73" fmla="*/ 9790011 w 12192000"/>
              <a:gd name="connsiteY73" fmla="*/ 1216526 h 6858000"/>
              <a:gd name="connsiteX74" fmla="*/ 9790011 w 12192000"/>
              <a:gd name="connsiteY74" fmla="*/ 1337777 h 6858000"/>
              <a:gd name="connsiteX75" fmla="*/ 9878068 w 12192000"/>
              <a:gd name="connsiteY75" fmla="*/ 1337777 h 6858000"/>
              <a:gd name="connsiteX76" fmla="*/ 9878068 w 12192000"/>
              <a:gd name="connsiteY76" fmla="*/ 1183392 h 6858000"/>
              <a:gd name="connsiteX77" fmla="*/ 9856159 w 12192000"/>
              <a:gd name="connsiteY77" fmla="*/ 1125467 h 6858000"/>
              <a:gd name="connsiteX78" fmla="*/ 9794543 w 12192000"/>
              <a:gd name="connsiteY78" fmla="*/ 1104848 h 6858000"/>
              <a:gd name="connsiteX79" fmla="*/ 10300888 w 12192000"/>
              <a:gd name="connsiteY79" fmla="*/ 1103918 h 6858000"/>
              <a:gd name="connsiteX80" fmla="*/ 10173334 w 12192000"/>
              <a:gd name="connsiteY80" fmla="*/ 1224659 h 6858000"/>
              <a:gd name="connsiteX81" fmla="*/ 10300888 w 12192000"/>
              <a:gd name="connsiteY81" fmla="*/ 1345850 h 6858000"/>
              <a:gd name="connsiteX82" fmla="*/ 10428442 w 12192000"/>
              <a:gd name="connsiteY82" fmla="*/ 1224659 h 6858000"/>
              <a:gd name="connsiteX83" fmla="*/ 10300888 w 12192000"/>
              <a:gd name="connsiteY83" fmla="*/ 1103918 h 6858000"/>
              <a:gd name="connsiteX84" fmla="*/ 9340780 w 12192000"/>
              <a:gd name="connsiteY84" fmla="*/ 1103918 h 6858000"/>
              <a:gd name="connsiteX85" fmla="*/ 9211095 w 12192000"/>
              <a:gd name="connsiteY85" fmla="*/ 1226790 h 6858000"/>
              <a:gd name="connsiteX86" fmla="*/ 9337359 w 12192000"/>
              <a:gd name="connsiteY86" fmla="*/ 1345850 h 6858000"/>
              <a:gd name="connsiteX87" fmla="*/ 9461942 w 12192000"/>
              <a:gd name="connsiteY87" fmla="*/ 1271029 h 6858000"/>
              <a:gd name="connsiteX88" fmla="*/ 9376045 w 12192000"/>
              <a:gd name="connsiteY88" fmla="*/ 1271029 h 6858000"/>
              <a:gd name="connsiteX89" fmla="*/ 9342431 w 12192000"/>
              <a:gd name="connsiteY89" fmla="*/ 1289757 h 6858000"/>
              <a:gd name="connsiteX90" fmla="*/ 9300773 w 12192000"/>
              <a:gd name="connsiteY90" fmla="*/ 1244677 h 6858000"/>
              <a:gd name="connsiteX91" fmla="*/ 9469144 w 12192000"/>
              <a:gd name="connsiteY91" fmla="*/ 1244677 h 6858000"/>
              <a:gd name="connsiteX92" fmla="*/ 9469144 w 12192000"/>
              <a:gd name="connsiteY92" fmla="*/ 1239155 h 6858000"/>
              <a:gd name="connsiteX93" fmla="*/ 9340720 w 12192000"/>
              <a:gd name="connsiteY93" fmla="*/ 1103948 h 6858000"/>
              <a:gd name="connsiteX94" fmla="*/ 10936558 w 12192000"/>
              <a:gd name="connsiteY94" fmla="*/ 1103888 h 6858000"/>
              <a:gd name="connsiteX95" fmla="*/ 10806873 w 12192000"/>
              <a:gd name="connsiteY95" fmla="*/ 1226760 h 6858000"/>
              <a:gd name="connsiteX96" fmla="*/ 10933136 w 12192000"/>
              <a:gd name="connsiteY96" fmla="*/ 1345821 h 6858000"/>
              <a:gd name="connsiteX97" fmla="*/ 11057719 w 12192000"/>
              <a:gd name="connsiteY97" fmla="*/ 1270999 h 6858000"/>
              <a:gd name="connsiteX98" fmla="*/ 10971823 w 12192000"/>
              <a:gd name="connsiteY98" fmla="*/ 1270999 h 6858000"/>
              <a:gd name="connsiteX99" fmla="*/ 10938209 w 12192000"/>
              <a:gd name="connsiteY99" fmla="*/ 1289727 h 6858000"/>
              <a:gd name="connsiteX100" fmla="*/ 10896551 w 12192000"/>
              <a:gd name="connsiteY100" fmla="*/ 1244648 h 6858000"/>
              <a:gd name="connsiteX101" fmla="*/ 11064922 w 12192000"/>
              <a:gd name="connsiteY101" fmla="*/ 1244648 h 6858000"/>
              <a:gd name="connsiteX102" fmla="*/ 11064922 w 12192000"/>
              <a:gd name="connsiteY102" fmla="*/ 1239125 h 6858000"/>
              <a:gd name="connsiteX103" fmla="*/ 10936498 w 12192000"/>
              <a:gd name="connsiteY103" fmla="*/ 1103918 h 6858000"/>
              <a:gd name="connsiteX104" fmla="*/ 11328404 w 12192000"/>
              <a:gd name="connsiteY104" fmla="*/ 1029276 h 6858000"/>
              <a:gd name="connsiteX105" fmla="*/ 11320841 w 12192000"/>
              <a:gd name="connsiteY105" fmla="*/ 1036839 h 6858000"/>
              <a:gd name="connsiteX106" fmla="*/ 11320841 w 12192000"/>
              <a:gd name="connsiteY106" fmla="*/ 1092843 h 6858000"/>
              <a:gd name="connsiteX107" fmla="*/ 11328404 w 12192000"/>
              <a:gd name="connsiteY107" fmla="*/ 1100436 h 6858000"/>
              <a:gd name="connsiteX108" fmla="*/ 11384288 w 12192000"/>
              <a:gd name="connsiteY108" fmla="*/ 1100436 h 6858000"/>
              <a:gd name="connsiteX109" fmla="*/ 11391881 w 12192000"/>
              <a:gd name="connsiteY109" fmla="*/ 1092873 h 6858000"/>
              <a:gd name="connsiteX110" fmla="*/ 11391881 w 12192000"/>
              <a:gd name="connsiteY110" fmla="*/ 1036839 h 6858000"/>
              <a:gd name="connsiteX111" fmla="*/ 11384288 w 12192000"/>
              <a:gd name="connsiteY111" fmla="*/ 1029276 h 6858000"/>
              <a:gd name="connsiteX112" fmla="*/ 11429547 w 12192000"/>
              <a:gd name="connsiteY112" fmla="*/ 1029246 h 6858000"/>
              <a:gd name="connsiteX113" fmla="*/ 11421954 w 12192000"/>
              <a:gd name="connsiteY113" fmla="*/ 1036809 h 6858000"/>
              <a:gd name="connsiteX114" fmla="*/ 11421954 w 12192000"/>
              <a:gd name="connsiteY114" fmla="*/ 1163973 h 6858000"/>
              <a:gd name="connsiteX115" fmla="*/ 11429547 w 12192000"/>
              <a:gd name="connsiteY115" fmla="*/ 1171566 h 6858000"/>
              <a:gd name="connsiteX116" fmla="*/ 11556681 w 12192000"/>
              <a:gd name="connsiteY116" fmla="*/ 1171566 h 6858000"/>
              <a:gd name="connsiteX117" fmla="*/ 11564244 w 12192000"/>
              <a:gd name="connsiteY117" fmla="*/ 1163973 h 6858000"/>
              <a:gd name="connsiteX118" fmla="*/ 11564244 w 12192000"/>
              <a:gd name="connsiteY118" fmla="*/ 1036809 h 6858000"/>
              <a:gd name="connsiteX119" fmla="*/ 11556681 w 12192000"/>
              <a:gd name="connsiteY119" fmla="*/ 1029246 h 6858000"/>
              <a:gd name="connsiteX120" fmla="*/ 11257184 w 12192000"/>
              <a:gd name="connsiteY120" fmla="*/ 856823 h 6858000"/>
              <a:gd name="connsiteX121" fmla="*/ 11249591 w 12192000"/>
              <a:gd name="connsiteY121" fmla="*/ 864416 h 6858000"/>
              <a:gd name="connsiteX122" fmla="*/ 11249591 w 12192000"/>
              <a:gd name="connsiteY122" fmla="*/ 991550 h 6858000"/>
              <a:gd name="connsiteX123" fmla="*/ 11257184 w 12192000"/>
              <a:gd name="connsiteY123" fmla="*/ 999143 h 6858000"/>
              <a:gd name="connsiteX124" fmla="*/ 11384318 w 12192000"/>
              <a:gd name="connsiteY124" fmla="*/ 999143 h 6858000"/>
              <a:gd name="connsiteX125" fmla="*/ 11391911 w 12192000"/>
              <a:gd name="connsiteY125" fmla="*/ 991550 h 6858000"/>
              <a:gd name="connsiteX126" fmla="*/ 11391911 w 12192000"/>
              <a:gd name="connsiteY126" fmla="*/ 864416 h 6858000"/>
              <a:gd name="connsiteX127" fmla="*/ 11384318 w 12192000"/>
              <a:gd name="connsiteY127" fmla="*/ 856823 h 6858000"/>
              <a:gd name="connsiteX128" fmla="*/ 11429457 w 12192000"/>
              <a:gd name="connsiteY128" fmla="*/ 767925 h 6858000"/>
              <a:gd name="connsiteX129" fmla="*/ 11421864 w 12192000"/>
              <a:gd name="connsiteY129" fmla="*/ 775518 h 6858000"/>
              <a:gd name="connsiteX130" fmla="*/ 11421924 w 12192000"/>
              <a:gd name="connsiteY130" fmla="*/ 991550 h 6858000"/>
              <a:gd name="connsiteX131" fmla="*/ 11429517 w 12192000"/>
              <a:gd name="connsiteY131" fmla="*/ 999143 h 6858000"/>
              <a:gd name="connsiteX132" fmla="*/ 11645609 w 12192000"/>
              <a:gd name="connsiteY132" fmla="*/ 999143 h 6858000"/>
              <a:gd name="connsiteX133" fmla="*/ 11653202 w 12192000"/>
              <a:gd name="connsiteY133" fmla="*/ 991550 h 6858000"/>
              <a:gd name="connsiteX134" fmla="*/ 11653202 w 12192000"/>
              <a:gd name="connsiteY134" fmla="*/ 883564 h 6858000"/>
              <a:gd name="connsiteX135" fmla="*/ 11537533 w 12192000"/>
              <a:gd name="connsiteY135" fmla="*/ 767925 h 6858000"/>
              <a:gd name="connsiteX136" fmla="*/ 4860000 w 12192000"/>
              <a:gd name="connsiteY136" fmla="*/ 0 h 6858000"/>
              <a:gd name="connsiteX137" fmla="*/ 12192000 w 12192000"/>
              <a:gd name="connsiteY137" fmla="*/ 0 h 6858000"/>
              <a:gd name="connsiteX138" fmla="*/ 12192000 w 12192000"/>
              <a:gd name="connsiteY138" fmla="*/ 6858000 h 6858000"/>
              <a:gd name="connsiteX139" fmla="*/ 0 w 12192000"/>
              <a:gd name="connsiteY139" fmla="*/ 6858000 h 6858000"/>
              <a:gd name="connsiteX140" fmla="*/ 0 w 12192000"/>
              <a:gd name="connsiteY140" fmla="*/ 4644000 h 6858000"/>
              <a:gd name="connsiteX141" fmla="*/ 4860000 w 12192000"/>
              <a:gd name="connsiteY141" fmla="*/ 4644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2192000" h="6858000">
                <a:moveTo>
                  <a:pt x="10034885" y="1173187"/>
                </a:moveTo>
                <a:cubicBezTo>
                  <a:pt x="10059556" y="1173187"/>
                  <a:pt x="10071020" y="1190204"/>
                  <a:pt x="10071020" y="1225500"/>
                </a:cubicBezTo>
                <a:cubicBezTo>
                  <a:pt x="10071020" y="1260795"/>
                  <a:pt x="10058265" y="1276551"/>
                  <a:pt x="10034015" y="1276551"/>
                </a:cubicBezTo>
                <a:cubicBezTo>
                  <a:pt x="10009374" y="1276551"/>
                  <a:pt x="9997039" y="1259534"/>
                  <a:pt x="9997039" y="1225500"/>
                </a:cubicBezTo>
                <a:cubicBezTo>
                  <a:pt x="9997039" y="1189784"/>
                  <a:pt x="10008084" y="1173187"/>
                  <a:pt x="10034885" y="1173187"/>
                </a:cubicBezTo>
                <a:close/>
                <a:moveTo>
                  <a:pt x="10300888" y="1166404"/>
                </a:moveTo>
                <a:cubicBezTo>
                  <a:pt x="10328110" y="1166404"/>
                  <a:pt x="10338314" y="1184712"/>
                  <a:pt x="10338314" y="1224659"/>
                </a:cubicBezTo>
                <a:cubicBezTo>
                  <a:pt x="10338314" y="1264606"/>
                  <a:pt x="10328110" y="1283334"/>
                  <a:pt x="10300888" y="1283334"/>
                </a:cubicBezTo>
                <a:cubicBezTo>
                  <a:pt x="10273666" y="1283334"/>
                  <a:pt x="10263882" y="1264636"/>
                  <a:pt x="10263882" y="1224659"/>
                </a:cubicBezTo>
                <a:cubicBezTo>
                  <a:pt x="10263882" y="1184682"/>
                  <a:pt x="10273666" y="1166404"/>
                  <a:pt x="10300888" y="1166404"/>
                </a:cubicBezTo>
                <a:close/>
                <a:moveTo>
                  <a:pt x="9339940" y="1157461"/>
                </a:moveTo>
                <a:cubicBezTo>
                  <a:pt x="9365451" y="1157461"/>
                  <a:pt x="9379046" y="1171506"/>
                  <a:pt x="9380757" y="1199568"/>
                </a:cubicBezTo>
                <a:lnTo>
                  <a:pt x="9300833" y="1199568"/>
                </a:lnTo>
                <a:cubicBezTo>
                  <a:pt x="9302064" y="1172797"/>
                  <a:pt x="9316560" y="1157461"/>
                  <a:pt x="9339940" y="1157461"/>
                </a:cubicBezTo>
                <a:close/>
                <a:moveTo>
                  <a:pt x="10935718" y="1157431"/>
                </a:moveTo>
                <a:cubicBezTo>
                  <a:pt x="10961228" y="1157431"/>
                  <a:pt x="10974824" y="1171477"/>
                  <a:pt x="10976535" y="1199538"/>
                </a:cubicBezTo>
                <a:lnTo>
                  <a:pt x="10896611" y="1199538"/>
                </a:lnTo>
                <a:cubicBezTo>
                  <a:pt x="10897842" y="1172767"/>
                  <a:pt x="10912338" y="1157431"/>
                  <a:pt x="10935718" y="1157431"/>
                </a:cubicBezTo>
                <a:close/>
                <a:moveTo>
                  <a:pt x="10423850" y="1111961"/>
                </a:moveTo>
                <a:lnTo>
                  <a:pt x="10498282" y="1337777"/>
                </a:lnTo>
                <a:lnTo>
                  <a:pt x="10586279" y="1337777"/>
                </a:lnTo>
                <a:lnTo>
                  <a:pt x="10619053" y="1207222"/>
                </a:lnTo>
                <a:lnTo>
                  <a:pt x="10651767" y="1337777"/>
                </a:lnTo>
                <a:lnTo>
                  <a:pt x="10739794" y="1337777"/>
                </a:lnTo>
                <a:lnTo>
                  <a:pt x="10810774" y="1111961"/>
                </a:lnTo>
                <a:lnTo>
                  <a:pt x="10725358" y="1111961"/>
                </a:lnTo>
                <a:lnTo>
                  <a:pt x="10691774" y="1249750"/>
                </a:lnTo>
                <a:lnTo>
                  <a:pt x="10656899" y="1111961"/>
                </a:lnTo>
                <a:lnTo>
                  <a:pt x="10581207" y="1111961"/>
                </a:lnTo>
                <a:lnTo>
                  <a:pt x="10546332" y="1249750"/>
                </a:lnTo>
                <a:lnTo>
                  <a:pt x="10512718" y="1111961"/>
                </a:lnTo>
                <a:close/>
                <a:moveTo>
                  <a:pt x="10062497" y="1106019"/>
                </a:moveTo>
                <a:cubicBezTo>
                  <a:pt x="10030203" y="1106019"/>
                  <a:pt x="10007243" y="1116643"/>
                  <a:pt x="9989386" y="1140894"/>
                </a:cubicBezTo>
                <a:lnTo>
                  <a:pt x="9989386" y="1111961"/>
                </a:lnTo>
                <a:lnTo>
                  <a:pt x="9909882" y="1111961"/>
                </a:lnTo>
                <a:lnTo>
                  <a:pt x="9909882" y="1428325"/>
                </a:lnTo>
                <a:lnTo>
                  <a:pt x="9997039" y="1428325"/>
                </a:lnTo>
                <a:lnTo>
                  <a:pt x="9997039" y="1316498"/>
                </a:lnTo>
                <a:cubicBezTo>
                  <a:pt x="10012766" y="1336486"/>
                  <a:pt x="10033174" y="1345400"/>
                  <a:pt x="10060816" y="1345400"/>
                </a:cubicBezTo>
                <a:cubicBezTo>
                  <a:pt x="10121202" y="1345400"/>
                  <a:pt x="10160758" y="1299031"/>
                  <a:pt x="10160758" y="1225500"/>
                </a:cubicBezTo>
                <a:cubicBezTo>
                  <a:pt x="10160758" y="1151968"/>
                  <a:pt x="10119941" y="1106019"/>
                  <a:pt x="10062526" y="1106019"/>
                </a:cubicBezTo>
                <a:close/>
                <a:moveTo>
                  <a:pt x="11241367" y="1105989"/>
                </a:moveTo>
                <a:cubicBezTo>
                  <a:pt x="11204782" y="1105989"/>
                  <a:pt x="11183113" y="1120005"/>
                  <a:pt x="11171197" y="1153199"/>
                </a:cubicBezTo>
                <a:lnTo>
                  <a:pt x="11171197" y="1111931"/>
                </a:lnTo>
                <a:lnTo>
                  <a:pt x="11088272" y="1111931"/>
                </a:lnTo>
                <a:lnTo>
                  <a:pt x="11088272" y="1337747"/>
                </a:lnTo>
                <a:lnTo>
                  <a:pt x="11178401" y="1337747"/>
                </a:lnTo>
                <a:lnTo>
                  <a:pt x="11178401" y="1245068"/>
                </a:lnTo>
                <a:cubicBezTo>
                  <a:pt x="11178401" y="1210193"/>
                  <a:pt x="11194998" y="1194436"/>
                  <a:pt x="11231133" y="1194436"/>
                </a:cubicBezTo>
                <a:cubicBezTo>
                  <a:pt x="11236655" y="1194436"/>
                  <a:pt x="11242628" y="1194887"/>
                  <a:pt x="11249441" y="1195727"/>
                </a:cubicBezTo>
                <a:lnTo>
                  <a:pt x="11249441" y="1105989"/>
                </a:lnTo>
                <a:close/>
                <a:moveTo>
                  <a:pt x="9794543" y="1104818"/>
                </a:moveTo>
                <a:cubicBezTo>
                  <a:pt x="9778276" y="1104818"/>
                  <a:pt x="9763660" y="1108030"/>
                  <a:pt x="9750724" y="1114392"/>
                </a:cubicBezTo>
                <a:cubicBezTo>
                  <a:pt x="9737759" y="1120785"/>
                  <a:pt x="9725844" y="1130779"/>
                  <a:pt x="9714949" y="1144375"/>
                </a:cubicBezTo>
                <a:cubicBezTo>
                  <a:pt x="9706545" y="1130779"/>
                  <a:pt x="9697002" y="1120845"/>
                  <a:pt x="9686317" y="1114602"/>
                </a:cubicBezTo>
                <a:cubicBezTo>
                  <a:pt x="9675632" y="1108360"/>
                  <a:pt x="9662907" y="1105238"/>
                  <a:pt x="9648171" y="1105238"/>
                </a:cubicBezTo>
                <a:cubicBezTo>
                  <a:pt x="9632054" y="1105238"/>
                  <a:pt x="9617768" y="1108420"/>
                  <a:pt x="9605372" y="1114813"/>
                </a:cubicBezTo>
                <a:cubicBezTo>
                  <a:pt x="9592977" y="1121205"/>
                  <a:pt x="9581812" y="1131049"/>
                  <a:pt x="9571878" y="1144405"/>
                </a:cubicBezTo>
                <a:lnTo>
                  <a:pt x="9571878" y="1111301"/>
                </a:lnTo>
                <a:lnTo>
                  <a:pt x="9490634" y="1111301"/>
                </a:lnTo>
                <a:lnTo>
                  <a:pt x="9490634" y="1337777"/>
                </a:lnTo>
                <a:lnTo>
                  <a:pt x="9578721" y="1337777"/>
                </a:lnTo>
                <a:lnTo>
                  <a:pt x="9578721" y="1216105"/>
                </a:lnTo>
                <a:cubicBezTo>
                  <a:pt x="9578721" y="1203050"/>
                  <a:pt x="9581302" y="1193116"/>
                  <a:pt x="9586464" y="1186303"/>
                </a:cubicBezTo>
                <a:cubicBezTo>
                  <a:pt x="9591627" y="1179490"/>
                  <a:pt x="9599190" y="1176098"/>
                  <a:pt x="9609094" y="1176098"/>
                </a:cubicBezTo>
                <a:cubicBezTo>
                  <a:pt x="9620259" y="1176098"/>
                  <a:pt x="9628272" y="1179460"/>
                  <a:pt x="9633164" y="1186213"/>
                </a:cubicBezTo>
                <a:cubicBezTo>
                  <a:pt x="9638056" y="1192966"/>
                  <a:pt x="9640517" y="1204100"/>
                  <a:pt x="9640517" y="1219647"/>
                </a:cubicBezTo>
                <a:lnTo>
                  <a:pt x="9640517" y="1337777"/>
                </a:lnTo>
                <a:lnTo>
                  <a:pt x="9728184" y="1337777"/>
                </a:lnTo>
                <a:lnTo>
                  <a:pt x="9728184" y="1217366"/>
                </a:lnTo>
                <a:cubicBezTo>
                  <a:pt x="9728184" y="1203200"/>
                  <a:pt x="9730736" y="1192786"/>
                  <a:pt x="9735838" y="1186123"/>
                </a:cubicBezTo>
                <a:cubicBezTo>
                  <a:pt x="9740940" y="1179460"/>
                  <a:pt x="9748923" y="1176098"/>
                  <a:pt x="9759818" y="1176098"/>
                </a:cubicBezTo>
                <a:cubicBezTo>
                  <a:pt x="9770713" y="1176098"/>
                  <a:pt x="9778126" y="1179310"/>
                  <a:pt x="9782868" y="1185703"/>
                </a:cubicBezTo>
                <a:cubicBezTo>
                  <a:pt x="9787610" y="1192095"/>
                  <a:pt x="9790011" y="1202360"/>
                  <a:pt x="9790011" y="1216526"/>
                </a:cubicBezTo>
                <a:lnTo>
                  <a:pt x="9790011" y="1337777"/>
                </a:lnTo>
                <a:lnTo>
                  <a:pt x="9878068" y="1337777"/>
                </a:lnTo>
                <a:lnTo>
                  <a:pt x="9878068" y="1183392"/>
                </a:lnTo>
                <a:cubicBezTo>
                  <a:pt x="9878068" y="1158541"/>
                  <a:pt x="9870775" y="1139213"/>
                  <a:pt x="9856159" y="1125467"/>
                </a:cubicBezTo>
                <a:cubicBezTo>
                  <a:pt x="9841543" y="1111721"/>
                  <a:pt x="9821014" y="1104848"/>
                  <a:pt x="9794543" y="1104848"/>
                </a:cubicBezTo>
                <a:close/>
                <a:moveTo>
                  <a:pt x="10300888" y="1103918"/>
                </a:moveTo>
                <a:cubicBezTo>
                  <a:pt x="10221384" y="1103918"/>
                  <a:pt x="10173334" y="1149807"/>
                  <a:pt x="10173334" y="1224659"/>
                </a:cubicBezTo>
                <a:cubicBezTo>
                  <a:pt x="10173334" y="1299511"/>
                  <a:pt x="10221384" y="1345850"/>
                  <a:pt x="10300888" y="1345850"/>
                </a:cubicBezTo>
                <a:cubicBezTo>
                  <a:pt x="10380392" y="1345850"/>
                  <a:pt x="10428442" y="1299511"/>
                  <a:pt x="10428442" y="1224659"/>
                </a:cubicBezTo>
                <a:cubicBezTo>
                  <a:pt x="10428442" y="1149807"/>
                  <a:pt x="10380392" y="1103918"/>
                  <a:pt x="10300888" y="1103918"/>
                </a:cubicBezTo>
                <a:close/>
                <a:moveTo>
                  <a:pt x="9340780" y="1103918"/>
                </a:moveTo>
                <a:cubicBezTo>
                  <a:pt x="9260436" y="1103918"/>
                  <a:pt x="9211095" y="1151098"/>
                  <a:pt x="9211095" y="1226790"/>
                </a:cubicBezTo>
                <a:cubicBezTo>
                  <a:pt x="9211095" y="1302482"/>
                  <a:pt x="9259145" y="1345850"/>
                  <a:pt x="9337359" y="1345850"/>
                </a:cubicBezTo>
                <a:cubicBezTo>
                  <a:pt x="9407108" y="1345850"/>
                  <a:pt x="9449636" y="1319919"/>
                  <a:pt x="9461942" y="1271029"/>
                </a:cubicBezTo>
                <a:lnTo>
                  <a:pt x="9376045" y="1271029"/>
                </a:lnTo>
                <a:cubicBezTo>
                  <a:pt x="9371783" y="1282944"/>
                  <a:pt x="9359898" y="1289757"/>
                  <a:pt x="9342431" y="1289757"/>
                </a:cubicBezTo>
                <a:cubicBezTo>
                  <a:pt x="9316500" y="1289757"/>
                  <a:pt x="9301613" y="1273610"/>
                  <a:pt x="9300773" y="1244677"/>
                </a:cubicBezTo>
                <a:lnTo>
                  <a:pt x="9469144" y="1244677"/>
                </a:lnTo>
                <a:lnTo>
                  <a:pt x="9469144" y="1239155"/>
                </a:lnTo>
                <a:cubicBezTo>
                  <a:pt x="9469144" y="1154099"/>
                  <a:pt x="9420674" y="1103948"/>
                  <a:pt x="9340720" y="1103948"/>
                </a:cubicBezTo>
                <a:close/>
                <a:moveTo>
                  <a:pt x="10936558" y="1103888"/>
                </a:moveTo>
                <a:cubicBezTo>
                  <a:pt x="10856214" y="1103888"/>
                  <a:pt x="10806873" y="1151068"/>
                  <a:pt x="10806873" y="1226760"/>
                </a:cubicBezTo>
                <a:cubicBezTo>
                  <a:pt x="10806873" y="1302452"/>
                  <a:pt x="10854923" y="1345821"/>
                  <a:pt x="10933136" y="1345821"/>
                </a:cubicBezTo>
                <a:cubicBezTo>
                  <a:pt x="11002886" y="1345821"/>
                  <a:pt x="11045414" y="1319890"/>
                  <a:pt x="11057719" y="1270999"/>
                </a:cubicBezTo>
                <a:lnTo>
                  <a:pt x="10971823" y="1270999"/>
                </a:lnTo>
                <a:cubicBezTo>
                  <a:pt x="10967561" y="1282914"/>
                  <a:pt x="10955646" y="1289727"/>
                  <a:pt x="10938209" y="1289727"/>
                </a:cubicBezTo>
                <a:cubicBezTo>
                  <a:pt x="10912278" y="1289727"/>
                  <a:pt x="10897391" y="1273580"/>
                  <a:pt x="10896551" y="1244648"/>
                </a:cubicBezTo>
                <a:lnTo>
                  <a:pt x="11064922" y="1244648"/>
                </a:lnTo>
                <a:lnTo>
                  <a:pt x="11064922" y="1239125"/>
                </a:lnTo>
                <a:cubicBezTo>
                  <a:pt x="11064922" y="1154069"/>
                  <a:pt x="11016452" y="1103918"/>
                  <a:pt x="10936498" y="1103918"/>
                </a:cubicBezTo>
                <a:close/>
                <a:moveTo>
                  <a:pt x="11328404" y="1029276"/>
                </a:moveTo>
                <a:lnTo>
                  <a:pt x="11320841" y="1036839"/>
                </a:lnTo>
                <a:lnTo>
                  <a:pt x="11320841" y="1092843"/>
                </a:lnTo>
                <a:lnTo>
                  <a:pt x="11328404" y="1100436"/>
                </a:lnTo>
                <a:lnTo>
                  <a:pt x="11384288" y="1100436"/>
                </a:lnTo>
                <a:lnTo>
                  <a:pt x="11391881" y="1092873"/>
                </a:lnTo>
                <a:lnTo>
                  <a:pt x="11391881" y="1036839"/>
                </a:lnTo>
                <a:lnTo>
                  <a:pt x="11384288" y="1029276"/>
                </a:lnTo>
                <a:close/>
                <a:moveTo>
                  <a:pt x="11429547" y="1029246"/>
                </a:moveTo>
                <a:lnTo>
                  <a:pt x="11421954" y="1036809"/>
                </a:lnTo>
                <a:lnTo>
                  <a:pt x="11421954" y="1163973"/>
                </a:lnTo>
                <a:lnTo>
                  <a:pt x="11429547" y="1171566"/>
                </a:lnTo>
                <a:lnTo>
                  <a:pt x="11556681" y="1171566"/>
                </a:lnTo>
                <a:lnTo>
                  <a:pt x="11564244" y="1163973"/>
                </a:lnTo>
                <a:lnTo>
                  <a:pt x="11564244" y="1036809"/>
                </a:lnTo>
                <a:lnTo>
                  <a:pt x="11556681" y="1029246"/>
                </a:lnTo>
                <a:close/>
                <a:moveTo>
                  <a:pt x="11257184" y="856823"/>
                </a:moveTo>
                <a:lnTo>
                  <a:pt x="11249591" y="864416"/>
                </a:lnTo>
                <a:lnTo>
                  <a:pt x="11249591" y="991550"/>
                </a:lnTo>
                <a:lnTo>
                  <a:pt x="11257184" y="999143"/>
                </a:lnTo>
                <a:lnTo>
                  <a:pt x="11384318" y="999143"/>
                </a:lnTo>
                <a:lnTo>
                  <a:pt x="11391911" y="991550"/>
                </a:lnTo>
                <a:lnTo>
                  <a:pt x="11391911" y="864416"/>
                </a:lnTo>
                <a:lnTo>
                  <a:pt x="11384318" y="856823"/>
                </a:lnTo>
                <a:close/>
                <a:moveTo>
                  <a:pt x="11429457" y="767925"/>
                </a:moveTo>
                <a:lnTo>
                  <a:pt x="11421864" y="775518"/>
                </a:lnTo>
                <a:lnTo>
                  <a:pt x="11421924" y="991550"/>
                </a:lnTo>
                <a:lnTo>
                  <a:pt x="11429517" y="999143"/>
                </a:lnTo>
                <a:lnTo>
                  <a:pt x="11645609" y="999143"/>
                </a:lnTo>
                <a:lnTo>
                  <a:pt x="11653202" y="991550"/>
                </a:lnTo>
                <a:lnTo>
                  <a:pt x="11653202" y="883564"/>
                </a:lnTo>
                <a:lnTo>
                  <a:pt x="11537533" y="767925"/>
                </a:lnTo>
                <a:close/>
                <a:moveTo>
                  <a:pt x="4860000" y="0"/>
                </a:moveTo>
                <a:lnTo>
                  <a:pt x="12192000" y="0"/>
                </a:lnTo>
                <a:lnTo>
                  <a:pt x="12192000" y="6858000"/>
                </a:lnTo>
                <a:lnTo>
                  <a:pt x="0" y="6858000"/>
                </a:lnTo>
                <a:lnTo>
                  <a:pt x="0" y="4644000"/>
                </a:lnTo>
                <a:lnTo>
                  <a:pt x="4860000" y="4644000"/>
                </a:lnTo>
                <a:close/>
              </a:path>
            </a:pathLst>
          </a:custGeom>
        </p:spPr>
        <p:txBody>
          <a:bodyPr wrap="square">
            <a:noAutofit/>
          </a:bodyPr>
          <a:lstStyle>
            <a:lvl1pPr algn="ctr">
              <a:defRPr/>
            </a:lvl1pPr>
          </a:lstStyle>
          <a:p>
            <a:r>
              <a:rPr lang="en-US"/>
              <a:t>Click icon to add picture</a:t>
            </a:r>
            <a:endParaRPr lang="en-GB"/>
          </a:p>
        </p:txBody>
      </p:sp>
      <p:grpSp>
        <p:nvGrpSpPr>
          <p:cNvPr id="13" name="Block">
            <a:extLst>
              <a:ext uri="{FF2B5EF4-FFF2-40B4-BE49-F238E27FC236}">
                <a16:creationId xmlns:a16="http://schemas.microsoft.com/office/drawing/2014/main" id="{652B8FD6-74FC-514C-F519-0CBE970EAED5}"/>
              </a:ext>
            </a:extLst>
          </p:cNvPr>
          <p:cNvGrpSpPr/>
          <p:nvPr/>
        </p:nvGrpSpPr>
        <p:grpSpPr>
          <a:xfrm>
            <a:off x="0" y="0"/>
            <a:ext cx="4876800" cy="4680000"/>
            <a:chOff x="0" y="0"/>
            <a:chExt cx="4876800" cy="4648201"/>
          </a:xfrm>
        </p:grpSpPr>
        <p:sp>
          <p:nvSpPr>
            <p:cNvPr id="8" name="Bright Blue Block">
              <a:extLst>
                <a:ext uri="{FF2B5EF4-FFF2-40B4-BE49-F238E27FC236}">
                  <a16:creationId xmlns:a16="http://schemas.microsoft.com/office/drawing/2014/main" id="{55D49043-F59D-C045-9BBB-BC80EA2A2525}"/>
                </a:ext>
              </a:extLst>
            </p:cNvPr>
            <p:cNvSpPr/>
            <p:nvPr/>
          </p:nvSpPr>
          <p:spPr bwMode="white">
            <a:xfrm>
              <a:off x="0" y="1"/>
              <a:ext cx="4876800" cy="4648200"/>
            </a:xfrm>
            <a:prstGeom prst="rect">
              <a:avLst/>
            </a:prstGeom>
            <a:gradFill>
              <a:gsLst>
                <a:gs pos="71000">
                  <a:srgbClr val="538FFF"/>
                </a:gs>
                <a:gs pos="44000">
                  <a:srgbClr val="538FFF"/>
                </a:gs>
                <a:gs pos="19000">
                  <a:srgbClr val="1E52A1">
                    <a:lumMod val="93000"/>
                    <a:lumOff val="7000"/>
                  </a:srgbClr>
                </a:gs>
                <a:gs pos="100000">
                  <a:srgbClr val="538FFF"/>
                </a:gs>
                <a:gs pos="1000">
                  <a:srgbClr val="0A3B7D"/>
                </a:gs>
              </a:gsLst>
              <a:lin ang="133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PT">
                <a:solidFill>
                  <a:schemeClr val="lt1"/>
                </a:solidFill>
              </a:endParaRPr>
            </a:p>
          </p:txBody>
        </p:sp>
        <p:sp>
          <p:nvSpPr>
            <p:cNvPr id="11" name="Squiggle">
              <a:extLst>
                <a:ext uri="{FF2B5EF4-FFF2-40B4-BE49-F238E27FC236}">
                  <a16:creationId xmlns:a16="http://schemas.microsoft.com/office/drawing/2014/main" id="{49CD59CD-2AFD-FE85-1E90-9F7833A01A25}"/>
                </a:ext>
              </a:extLst>
            </p:cNvPr>
            <p:cNvSpPr/>
            <p:nvPr/>
          </p:nvSpPr>
          <p:spPr>
            <a:xfrm>
              <a:off x="0" y="0"/>
              <a:ext cx="4876800" cy="4648200"/>
            </a:xfrm>
            <a:custGeom>
              <a:avLst/>
              <a:gdLst>
                <a:gd name="connsiteX0" fmla="*/ 0 w 4876800"/>
                <a:gd name="connsiteY0" fmla="*/ 0 h 4648200"/>
                <a:gd name="connsiteX1" fmla="*/ 2670238 w 4876800"/>
                <a:gd name="connsiteY1" fmla="*/ 0 h 4648200"/>
                <a:gd name="connsiteX2" fmla="*/ 3251333 w 4876800"/>
                <a:gd name="connsiteY2" fmla="*/ 517355 h 4648200"/>
                <a:gd name="connsiteX3" fmla="*/ 4616160 w 4876800"/>
                <a:gd name="connsiteY3" fmla="*/ 1736231 h 4648200"/>
                <a:gd name="connsiteX4" fmla="*/ 4876800 w 4876800"/>
                <a:gd name="connsiteY4" fmla="*/ 1979901 h 4648200"/>
                <a:gd name="connsiteX5" fmla="*/ 4876800 w 4876800"/>
                <a:gd name="connsiteY5" fmla="*/ 3115238 h 4648200"/>
                <a:gd name="connsiteX6" fmla="*/ 4717223 w 4876800"/>
                <a:gd name="connsiteY6" fmla="*/ 2960531 h 4648200"/>
                <a:gd name="connsiteX7" fmla="*/ 1552986 w 4876800"/>
                <a:gd name="connsiteY7" fmla="*/ 109887 h 4648200"/>
                <a:gd name="connsiteX8" fmla="*/ 4260751 w 4876800"/>
                <a:gd name="connsiteY8" fmla="*/ 4355467 h 4648200"/>
                <a:gd name="connsiteX9" fmla="*/ 4417260 w 4876800"/>
                <a:gd name="connsiteY9" fmla="*/ 4648200 h 4648200"/>
                <a:gd name="connsiteX10" fmla="*/ 390191 w 4876800"/>
                <a:gd name="connsiteY10" fmla="*/ 4648200 h 4648200"/>
                <a:gd name="connsiteX11" fmla="*/ 4695 w 4876800"/>
                <a:gd name="connsiteY11" fmla="*/ 4056511 h 4648200"/>
                <a:gd name="connsiteX12" fmla="*/ 0 w 4876800"/>
                <a:gd name="connsiteY12" fmla="*/ 4024130 h 4648200"/>
                <a:gd name="connsiteX13" fmla="*/ 0 w 4876800"/>
                <a:gd name="connsiteY13" fmla="*/ 2392129 h 4648200"/>
                <a:gd name="connsiteX14" fmla="*/ 160541 w 4876800"/>
                <a:gd name="connsiteY14" fmla="*/ 2447325 h 4648200"/>
                <a:gd name="connsiteX15" fmla="*/ 1735139 w 4876800"/>
                <a:gd name="connsiteY15" fmla="*/ 3206469 h 4648200"/>
                <a:gd name="connsiteX16" fmla="*/ 108175 w 4876800"/>
                <a:gd name="connsiteY16" fmla="*/ 418305 h 4648200"/>
                <a:gd name="connsiteX17" fmla="*/ 0 w 4876800"/>
                <a:gd name="connsiteY17" fmla="*/ 258755 h 464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76800" h="4648200">
                  <a:moveTo>
                    <a:pt x="0" y="0"/>
                  </a:moveTo>
                  <a:lnTo>
                    <a:pt x="2670238" y="0"/>
                  </a:lnTo>
                  <a:lnTo>
                    <a:pt x="3251333" y="517355"/>
                  </a:lnTo>
                  <a:cubicBezTo>
                    <a:pt x="3703273" y="916643"/>
                    <a:pt x="4152812" y="1310328"/>
                    <a:pt x="4616160" y="1736231"/>
                  </a:cubicBezTo>
                  <a:lnTo>
                    <a:pt x="4876800" y="1979901"/>
                  </a:lnTo>
                  <a:lnTo>
                    <a:pt x="4876800" y="3115238"/>
                  </a:lnTo>
                  <a:lnTo>
                    <a:pt x="4717223" y="2960531"/>
                  </a:lnTo>
                  <a:cubicBezTo>
                    <a:pt x="2977630" y="1278774"/>
                    <a:pt x="2656650" y="1112355"/>
                    <a:pt x="1552986" y="109887"/>
                  </a:cubicBezTo>
                  <a:cubicBezTo>
                    <a:pt x="2546389" y="1475815"/>
                    <a:pt x="2400157" y="885368"/>
                    <a:pt x="4260751" y="4355467"/>
                  </a:cubicBezTo>
                  <a:lnTo>
                    <a:pt x="4417260" y="4648200"/>
                  </a:lnTo>
                  <a:lnTo>
                    <a:pt x="390191" y="4648200"/>
                  </a:lnTo>
                  <a:lnTo>
                    <a:pt x="4695" y="4056511"/>
                  </a:lnTo>
                  <a:lnTo>
                    <a:pt x="0" y="4024130"/>
                  </a:lnTo>
                  <a:lnTo>
                    <a:pt x="0" y="2392129"/>
                  </a:lnTo>
                  <a:lnTo>
                    <a:pt x="160541" y="2447325"/>
                  </a:lnTo>
                  <a:cubicBezTo>
                    <a:pt x="586623" y="2597715"/>
                    <a:pt x="1118268" y="2816866"/>
                    <a:pt x="1735139" y="3206469"/>
                  </a:cubicBezTo>
                  <a:cubicBezTo>
                    <a:pt x="1612651" y="2856712"/>
                    <a:pt x="816105" y="1476499"/>
                    <a:pt x="108175" y="418305"/>
                  </a:cubicBezTo>
                  <a:lnTo>
                    <a:pt x="0" y="258755"/>
                  </a:lnTo>
                  <a:close/>
                </a:path>
              </a:pathLst>
            </a:custGeom>
            <a:gradFill>
              <a:gsLst>
                <a:gs pos="100000">
                  <a:srgbClr val="356DCA"/>
                </a:gs>
                <a:gs pos="0">
                  <a:srgbClr val="3067C1">
                    <a:lumMod val="93000"/>
                    <a:lumOff val="700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9" name="Subtitle">
            <a:extLst>
              <a:ext uri="{FF2B5EF4-FFF2-40B4-BE49-F238E27FC236}">
                <a16:creationId xmlns:a16="http://schemas.microsoft.com/office/drawing/2014/main" id="{8ADB95D0-F1C8-516C-6D3E-5C2A67CD6FA3}"/>
              </a:ext>
            </a:extLst>
          </p:cNvPr>
          <p:cNvSpPr>
            <a:spLocks noGrp="1"/>
          </p:cNvSpPr>
          <p:nvPr>
            <p:ph type="subTitle" idx="1" hasCustomPrompt="1"/>
          </p:nvPr>
        </p:nvSpPr>
        <p:spPr>
          <a:xfrm>
            <a:off x="550800" y="3061072"/>
            <a:ext cx="3454400" cy="1016000"/>
          </a:xfrm>
          <a:prstGeom prst="rect">
            <a:avLst/>
          </a:prstGeom>
        </p:spPr>
        <p:txBody>
          <a:bodyPr anchor="t"/>
          <a:lstStyle>
            <a:lvl1pPr marL="0" indent="0" algn="l" defTabSz="203200" rtl="0" eaLnBrk="1" latinLnBrk="0" hangingPunct="1">
              <a:lnSpc>
                <a:spcPct val="90000"/>
              </a:lnSpc>
              <a:spcBef>
                <a:spcPct val="0"/>
              </a:spcBef>
              <a:spcAft>
                <a:spcPts val="600"/>
              </a:spcAft>
              <a:buFontTx/>
              <a:buNone/>
              <a:defRPr lang="en-US" sz="2400" kern="1200" baseline="0">
                <a:solidFill>
                  <a:schemeClr val="bg1"/>
                </a:solidFill>
                <a:latin typeface="+mn-lt"/>
                <a:ea typeface="+mn-ea"/>
                <a:cs typeface="+mn-cs"/>
              </a:defRPr>
            </a:lvl1pPr>
            <a:lvl2pPr marL="0" indent="0" algn="l">
              <a:lnSpc>
                <a:spcPct val="100000"/>
              </a:lnSpc>
              <a:spcBef>
                <a:spcPct val="0"/>
              </a:spcBef>
              <a:buNone/>
              <a:defRPr sz="14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a:t>
            </a:r>
            <a:br>
              <a:rPr lang="en-US"/>
            </a:br>
            <a:r>
              <a:rPr lang="en-US"/>
              <a:t>subtitle style</a:t>
            </a:r>
          </a:p>
        </p:txBody>
      </p:sp>
      <p:sp>
        <p:nvSpPr>
          <p:cNvPr id="7" name="Title">
            <a:extLst>
              <a:ext uri="{FF2B5EF4-FFF2-40B4-BE49-F238E27FC236}">
                <a16:creationId xmlns:a16="http://schemas.microsoft.com/office/drawing/2014/main" id="{4DD6E394-341A-C7EB-4850-A929E45D2FD5}"/>
              </a:ext>
            </a:extLst>
          </p:cNvPr>
          <p:cNvSpPr>
            <a:spLocks noGrp="1"/>
          </p:cNvSpPr>
          <p:nvPr>
            <p:ph type="title"/>
          </p:nvPr>
        </p:nvSpPr>
        <p:spPr>
          <a:xfrm>
            <a:off x="550800" y="838824"/>
            <a:ext cx="3454400" cy="2123658"/>
          </a:xfrm>
          <a:custGeom>
            <a:avLst/>
            <a:gdLst>
              <a:gd name="connsiteX0" fmla="*/ 0 w 8164842"/>
              <a:gd name="connsiteY0" fmla="*/ 0 h 1944775"/>
              <a:gd name="connsiteX1" fmla="*/ 8164842 w 8164842"/>
              <a:gd name="connsiteY1" fmla="*/ 0 h 1944775"/>
              <a:gd name="connsiteX2" fmla="*/ 8164842 w 8164842"/>
              <a:gd name="connsiteY2" fmla="*/ 1944775 h 1944775"/>
              <a:gd name="connsiteX3" fmla="*/ 0 w 8164842"/>
              <a:gd name="connsiteY3" fmla="*/ 1944775 h 1944775"/>
            </a:gdLst>
            <a:ahLst/>
            <a:cxnLst>
              <a:cxn ang="0">
                <a:pos x="connsiteX0" y="connsiteY0"/>
              </a:cxn>
              <a:cxn ang="0">
                <a:pos x="connsiteX1" y="connsiteY1"/>
              </a:cxn>
              <a:cxn ang="0">
                <a:pos x="connsiteX2" y="connsiteY2"/>
              </a:cxn>
              <a:cxn ang="0">
                <a:pos x="connsiteX3" y="connsiteY3"/>
              </a:cxn>
            </a:cxnLst>
            <a:rect l="l" t="t" r="r" b="b"/>
            <a:pathLst>
              <a:path w="8164842" h="1944775">
                <a:moveTo>
                  <a:pt x="0" y="0"/>
                </a:moveTo>
                <a:lnTo>
                  <a:pt x="8164842" y="0"/>
                </a:lnTo>
                <a:lnTo>
                  <a:pt x="8164842" y="1944775"/>
                </a:lnTo>
                <a:lnTo>
                  <a:pt x="0" y="1944775"/>
                </a:lnTo>
                <a:close/>
              </a:path>
            </a:pathLst>
          </a:custGeom>
        </p:spPr>
        <p:txBody>
          <a:bodyPr vert="horz" wrap="square" lIns="0" tIns="0" rIns="0" bIns="0" rtlCol="0" anchor="t" anchorCtr="0">
            <a:noAutofit/>
          </a:bodyPr>
          <a:lstStyle>
            <a:lvl1pPr algn="l">
              <a:lnSpc>
                <a:spcPct val="100000"/>
              </a:lnSpc>
              <a:defRPr lang="de-DE" sz="4600" b="0" i="0" spc="0" baseline="0">
                <a:solidFill>
                  <a:schemeClr val="bg1"/>
                </a:solidFill>
                <a:latin typeface="+mj-lt"/>
                <a:cs typeface="Segoe UI Semilight" panose="020B0502040204020203" pitchFamily="34" charset="0"/>
              </a:defRPr>
            </a:lvl1pPr>
          </a:lstStyle>
          <a:p>
            <a:pPr lvl="0"/>
            <a:r>
              <a:rPr lang="en-US" noProof="0"/>
              <a:t>Click to edit Master title style</a:t>
            </a:r>
            <a:endParaRPr lang="de-DE" noProof="0"/>
          </a:p>
        </p:txBody>
      </p:sp>
    </p:spTree>
    <p:extLst>
      <p:ext uri="{BB962C8B-B14F-4D97-AF65-F5344CB8AC3E}">
        <p14:creationId xmlns:p14="http://schemas.microsoft.com/office/powerpoint/2010/main" val="3466110758"/>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Highlight BC">
    <p:bg>
      <p:bgPr>
        <a:gradFill>
          <a:gsLst>
            <a:gs pos="0">
              <a:schemeClr val="accent1"/>
            </a:gs>
            <a:gs pos="100000">
              <a:schemeClr val="accent3"/>
            </a:gs>
          </a:gsLst>
          <a:lin ang="18900000" scaled="0"/>
        </a:gradFill>
        <a:effectLst/>
      </p:bgPr>
    </p:bg>
    <p:spTree>
      <p:nvGrpSpPr>
        <p:cNvPr id="1" name=""/>
        <p:cNvGrpSpPr/>
        <p:nvPr/>
      </p:nvGrpSpPr>
      <p:grpSpPr>
        <a:xfrm>
          <a:off x="0" y="0"/>
          <a:ext cx="0" cy="0"/>
          <a:chOff x="0" y="0"/>
          <a:chExt cx="0" cy="0"/>
        </a:xfrm>
      </p:grpSpPr>
      <p:pic>
        <p:nvPicPr>
          <p:cNvPr id="4" name="Sqiggle">
            <a:extLst>
              <a:ext uri="{FF2B5EF4-FFF2-40B4-BE49-F238E27FC236}">
                <a16:creationId xmlns:a16="http://schemas.microsoft.com/office/drawing/2014/main" id="{7CFE2DE4-C24E-60C5-80CA-985A84B4053A}"/>
              </a:ext>
            </a:extLst>
          </p:cNvPr>
          <p:cNvPicPr>
            <a:picLocks noChangeAspect="1"/>
          </p:cNvPicPr>
          <p:nvPr/>
        </p:nvPicPr>
        <p:blipFill>
          <a:blip r:embed="rId2">
            <a:extLst>
              <a:ext uri="{28A0092B-C50C-407E-A947-70E740481C1C}">
                <a14:useLocalDpi xmlns:a14="http://schemas.microsoft.com/office/drawing/2010/main"/>
              </a:ext>
            </a:extLst>
          </a:blip>
          <a:srcRect l="5268" t="3430" r="5268"/>
          <a:stretch>
            <a:fillRect/>
          </a:stretch>
        </p:blipFill>
        <p:spPr>
          <a:xfrm>
            <a:off x="0" y="0"/>
            <a:ext cx="12192001" cy="6197600"/>
          </a:xfrm>
          <a:prstGeom prst="rect">
            <a:avLst/>
          </a:prstGeom>
        </p:spPr>
      </p:pic>
      <p:sp>
        <p:nvSpPr>
          <p:cNvPr id="14" name="Content Right">
            <a:extLst>
              <a:ext uri="{FF2B5EF4-FFF2-40B4-BE49-F238E27FC236}">
                <a16:creationId xmlns:a16="http://schemas.microsoft.com/office/drawing/2014/main" id="{565FE5FD-13AB-AEFA-D1C2-F2E347DD1EF1}"/>
              </a:ext>
            </a:extLst>
          </p:cNvPr>
          <p:cNvSpPr>
            <a:spLocks noGrp="1"/>
          </p:cNvSpPr>
          <p:nvPr>
            <p:ph type="body" sz="quarter" idx="15"/>
          </p:nvPr>
        </p:nvSpPr>
        <p:spPr>
          <a:xfrm>
            <a:off x="6555200" y="4497021"/>
            <a:ext cx="3860800" cy="1466293"/>
          </a:xfrm>
          <a:prstGeom prst="rect">
            <a:avLst/>
          </a:prstGeom>
        </p:spPr>
        <p:txBody>
          <a:bodyPr/>
          <a:lstStyle>
            <a:lvl1pPr>
              <a:spcBef>
                <a:spcPts val="200"/>
              </a:spcBef>
              <a:spcAft>
                <a:spcPts val="200"/>
              </a:spcAft>
              <a:defRPr sz="1800" baseline="0">
                <a:solidFill>
                  <a:schemeClr val="tx1"/>
                </a:solidFill>
                <a:latin typeface="+mn-lt"/>
                <a:ea typeface="+mn-ea"/>
                <a:cs typeface="+mn-cs"/>
              </a:defRPr>
            </a:lvl1pPr>
            <a:lvl2pPr>
              <a:spcBef>
                <a:spcPts val="200"/>
              </a:spcBef>
              <a:spcAft>
                <a:spcPts val="200"/>
              </a:spcAft>
              <a:buClr>
                <a:schemeClr val="tx1"/>
              </a:buClr>
              <a:defRPr sz="1800" baseline="0">
                <a:solidFill>
                  <a:schemeClr val="tx1"/>
                </a:solidFill>
                <a:latin typeface="+mn-lt"/>
                <a:ea typeface="+mn-ea"/>
                <a:cs typeface="+mn-cs"/>
              </a:defRPr>
            </a:lvl2pPr>
            <a:lvl3pPr>
              <a:spcBef>
                <a:spcPts val="200"/>
              </a:spcBef>
              <a:spcAft>
                <a:spcPts val="200"/>
              </a:spcAft>
              <a:defRPr sz="1800" baseline="0">
                <a:solidFill>
                  <a:schemeClr val="tx1"/>
                </a:solidFill>
                <a:latin typeface="+mn-lt"/>
                <a:ea typeface="+mn-ea"/>
                <a:cs typeface="+mn-cs"/>
              </a:defRPr>
            </a:lvl3pPr>
            <a:lvl4pPr>
              <a:spcBef>
                <a:spcPts val="200"/>
              </a:spcBef>
              <a:spcAft>
                <a:spcPts val="200"/>
              </a:spcAft>
              <a:defRPr sz="1800" baseline="0">
                <a:solidFill>
                  <a:schemeClr val="tx1"/>
                </a:solidFill>
                <a:latin typeface="+mn-lt"/>
                <a:ea typeface="+mn-ea"/>
                <a:cs typeface="+mn-cs"/>
              </a:defRPr>
            </a:lvl4pPr>
            <a:lvl5pPr>
              <a:spcBef>
                <a:spcPts val="600"/>
              </a:spcBef>
              <a:spcAft>
                <a:spcPts val="200"/>
              </a:spcAft>
              <a:defRPr sz="1800" baseline="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3" name="Content Left">
            <a:extLst>
              <a:ext uri="{FF2B5EF4-FFF2-40B4-BE49-F238E27FC236}">
                <a16:creationId xmlns:a16="http://schemas.microsoft.com/office/drawing/2014/main" id="{2C9CF517-E5B8-36D8-B36C-5B35A7DCAAF2}"/>
              </a:ext>
            </a:extLst>
          </p:cNvPr>
          <p:cNvSpPr>
            <a:spLocks noGrp="1"/>
          </p:cNvSpPr>
          <p:nvPr>
            <p:ph type="body" sz="quarter" idx="10"/>
          </p:nvPr>
        </p:nvSpPr>
        <p:spPr>
          <a:xfrm>
            <a:off x="1776000" y="4497021"/>
            <a:ext cx="3860800" cy="1466293"/>
          </a:xfrm>
          <a:prstGeom prst="rect">
            <a:avLst/>
          </a:prstGeom>
        </p:spPr>
        <p:txBody>
          <a:bodyPr/>
          <a:lstStyle>
            <a:lvl1pPr>
              <a:spcBef>
                <a:spcPts val="200"/>
              </a:spcBef>
              <a:spcAft>
                <a:spcPts val="200"/>
              </a:spcAft>
              <a:defRPr sz="1800" baseline="0">
                <a:solidFill>
                  <a:schemeClr val="tx1"/>
                </a:solidFill>
                <a:latin typeface="+mn-lt"/>
                <a:ea typeface="+mn-ea"/>
                <a:cs typeface="+mn-cs"/>
              </a:defRPr>
            </a:lvl1pPr>
            <a:lvl2pPr>
              <a:spcBef>
                <a:spcPts val="200"/>
              </a:spcBef>
              <a:spcAft>
                <a:spcPts val="200"/>
              </a:spcAft>
              <a:buClr>
                <a:schemeClr val="tx1"/>
              </a:buClr>
              <a:defRPr sz="1800" baseline="0">
                <a:solidFill>
                  <a:schemeClr val="tx1"/>
                </a:solidFill>
                <a:latin typeface="+mn-lt"/>
                <a:ea typeface="+mn-ea"/>
                <a:cs typeface="+mn-cs"/>
              </a:defRPr>
            </a:lvl2pPr>
            <a:lvl3pPr>
              <a:spcBef>
                <a:spcPts val="200"/>
              </a:spcBef>
              <a:spcAft>
                <a:spcPts val="200"/>
              </a:spcAft>
              <a:defRPr sz="1800" baseline="0">
                <a:solidFill>
                  <a:schemeClr val="tx1"/>
                </a:solidFill>
                <a:latin typeface="+mn-lt"/>
                <a:ea typeface="+mn-ea"/>
                <a:cs typeface="+mn-cs"/>
              </a:defRPr>
            </a:lvl3pPr>
            <a:lvl4pPr>
              <a:spcBef>
                <a:spcPts val="200"/>
              </a:spcBef>
              <a:spcAft>
                <a:spcPts val="200"/>
              </a:spcAft>
              <a:defRPr sz="1800" baseline="0">
                <a:solidFill>
                  <a:schemeClr val="tx1"/>
                </a:solidFill>
                <a:latin typeface="+mn-lt"/>
                <a:ea typeface="+mn-ea"/>
                <a:cs typeface="+mn-cs"/>
              </a:defRPr>
            </a:lvl4pPr>
            <a:lvl5pPr>
              <a:spcBef>
                <a:spcPts val="600"/>
              </a:spcBef>
              <a:spcAft>
                <a:spcPts val="200"/>
              </a:spcAft>
              <a:defRPr sz="1800" baseline="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lus Content">
            <a:extLst>
              <a:ext uri="{FF2B5EF4-FFF2-40B4-BE49-F238E27FC236}">
                <a16:creationId xmlns:a16="http://schemas.microsoft.com/office/drawing/2014/main" id="{C5615C34-CA3E-F307-1218-2A274BDD2A20}"/>
              </a:ext>
            </a:extLst>
          </p:cNvPr>
          <p:cNvSpPr>
            <a:spLocks noGrp="1"/>
          </p:cNvSpPr>
          <p:nvPr>
            <p:ph type="body" sz="quarter" idx="20" hasCustomPrompt="1"/>
          </p:nvPr>
        </p:nvSpPr>
        <p:spPr>
          <a:xfrm>
            <a:off x="1776000" y="2662992"/>
            <a:ext cx="8639999" cy="1321965"/>
          </a:xfrm>
        </p:spPr>
        <p:txBody>
          <a:bodyPr anchor="ctr">
            <a:spAutoFit/>
          </a:bodyPr>
          <a:lstStyle>
            <a:lvl1pPr algn="ctr">
              <a:lnSpc>
                <a:spcPct val="105000"/>
              </a:lnSpc>
              <a:spcBef>
                <a:spcPts val="1200"/>
              </a:spcBef>
              <a:spcAft>
                <a:spcPct val="0"/>
              </a:spcAft>
              <a:defRPr sz="8800">
                <a:solidFill>
                  <a:schemeClr val="tx1"/>
                </a:solidFill>
                <a:latin typeface="+mj-lt"/>
              </a:defRPr>
            </a:lvl1pPr>
            <a:lvl2pPr marL="0" indent="0" algn="ctr">
              <a:lnSpc>
                <a:spcPct val="105000"/>
              </a:lnSpc>
              <a:buFontTx/>
              <a:buNone/>
              <a:defRPr sz="8800">
                <a:solidFill>
                  <a:schemeClr val="accent4"/>
                </a:solidFill>
                <a:latin typeface="+mj-lt"/>
              </a:defRPr>
            </a:lvl2pPr>
            <a:lvl3pPr marL="0" indent="0" algn="ctr">
              <a:spcBef>
                <a:spcPts val="1200"/>
              </a:spcBef>
              <a:spcAft>
                <a:spcPct val="0"/>
              </a:spcAft>
              <a:buFontTx/>
              <a:buNone/>
              <a:defRPr sz="4600">
                <a:solidFill>
                  <a:schemeClr val="tx1"/>
                </a:solidFill>
                <a:latin typeface="+mj-lt"/>
              </a:defRPr>
            </a:lvl3pPr>
            <a:lvl4pPr marL="0" indent="0" algn="ctr">
              <a:spcBef>
                <a:spcPts val="1200"/>
              </a:spcBef>
              <a:buClr>
                <a:schemeClr val="tx2"/>
              </a:buClr>
              <a:buFontTx/>
              <a:buNone/>
              <a:defRPr sz="4600">
                <a:solidFill>
                  <a:schemeClr val="accent4"/>
                </a:solidFill>
                <a:latin typeface="+mj-lt"/>
              </a:defRPr>
            </a:lvl4pPr>
            <a:lvl5pPr marL="0" indent="0" algn="l">
              <a:spcBef>
                <a:spcPts val="1200"/>
              </a:spcBef>
              <a:spcAft>
                <a:spcPct val="0"/>
              </a:spcAft>
              <a:buClr>
                <a:schemeClr val="tx2"/>
              </a:buClr>
              <a:buFontTx/>
              <a:buNone/>
              <a:defRPr sz="1800" b="0">
                <a:solidFill>
                  <a:schemeClr val="tx1"/>
                </a:solidFill>
                <a:latin typeface="+mn-lt"/>
              </a:defRPr>
            </a:lvl5pPr>
            <a:lvl6pPr marL="0" indent="0" algn="l">
              <a:spcBef>
                <a:spcPts val="1200"/>
              </a:spcBef>
              <a:spcAft>
                <a:spcPct val="0"/>
              </a:spcAft>
              <a:buFontTx/>
              <a:buNone/>
              <a:defRPr sz="1800" b="0" baseline="0">
                <a:solidFill>
                  <a:schemeClr val="accent4"/>
                </a:solidFill>
                <a:latin typeface="+mn-lt"/>
              </a:defRPr>
            </a:lvl6pPr>
            <a:lvl7pPr marL="0" indent="0" algn="ctr">
              <a:spcBef>
                <a:spcPts val="1200"/>
              </a:spcBef>
              <a:buFontTx/>
              <a:buNone/>
              <a:defRPr sz="1800">
                <a:solidFill>
                  <a:schemeClr val="tx1"/>
                </a:solidFill>
                <a:latin typeface="+mn-lt"/>
              </a:defRPr>
            </a:lvl7pPr>
            <a:lvl8pPr marL="0" indent="0" algn="ctr">
              <a:spcBef>
                <a:spcPts val="1200"/>
              </a:spcBef>
              <a:buFontTx/>
              <a:buNone/>
              <a:defRPr sz="1800">
                <a:solidFill>
                  <a:schemeClr val="accent4"/>
                </a:solidFill>
                <a:latin typeface="+mn-lt"/>
              </a:defRPr>
            </a:lvl8pPr>
            <a:lvl9pPr algn="ctr">
              <a:defRPr>
                <a:solidFill>
                  <a:schemeClr val="accent4"/>
                </a:solidFill>
              </a:defRPr>
            </a:lvl9pPr>
          </a:lstStyle>
          <a:p>
            <a:pPr lvl="0"/>
            <a:r>
              <a:rPr lang="en-GB"/>
              <a:t>Headline/Quote</a:t>
            </a:r>
          </a:p>
        </p:txBody>
      </p:sp>
    </p:spTree>
    <p:extLst>
      <p:ext uri="{BB962C8B-B14F-4D97-AF65-F5344CB8AC3E}">
        <p14:creationId xmlns:p14="http://schemas.microsoft.com/office/powerpoint/2010/main" val="39184798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Highlight CC">
    <p:bg>
      <p:bgPr>
        <a:gradFill>
          <a:gsLst>
            <a:gs pos="0">
              <a:schemeClr val="accent4"/>
            </a:gs>
            <a:gs pos="100000">
              <a:schemeClr val="accent5"/>
            </a:gs>
          </a:gsLst>
          <a:lin ang="18900000" scaled="0"/>
        </a:gradFill>
        <a:effectLst/>
      </p:bgPr>
    </p:bg>
    <p:spTree>
      <p:nvGrpSpPr>
        <p:cNvPr id="1" name=""/>
        <p:cNvGrpSpPr/>
        <p:nvPr/>
      </p:nvGrpSpPr>
      <p:grpSpPr>
        <a:xfrm>
          <a:off x="0" y="0"/>
          <a:ext cx="0" cy="0"/>
          <a:chOff x="0" y="0"/>
          <a:chExt cx="0" cy="0"/>
        </a:xfrm>
      </p:grpSpPr>
      <p:sp>
        <p:nvSpPr>
          <p:cNvPr id="4" name="Squiggle">
            <a:extLst>
              <a:ext uri="{FF2B5EF4-FFF2-40B4-BE49-F238E27FC236}">
                <a16:creationId xmlns:a16="http://schemas.microsoft.com/office/drawing/2014/main" id="{A2CEC2FF-1490-0554-2D76-465A5050BD16}"/>
              </a:ext>
            </a:extLst>
          </p:cNvPr>
          <p:cNvSpPr/>
          <p:nvPr/>
        </p:nvSpPr>
        <p:spPr>
          <a:xfrm>
            <a:off x="1" y="0"/>
            <a:ext cx="12191999" cy="6858000"/>
          </a:xfrm>
          <a:custGeom>
            <a:avLst/>
            <a:gdLst>
              <a:gd name="connsiteX0" fmla="*/ 6714175 w 12191999"/>
              <a:gd name="connsiteY0" fmla="*/ 0 h 6191520"/>
              <a:gd name="connsiteX1" fmla="*/ 8050801 w 12191999"/>
              <a:gd name="connsiteY1" fmla="*/ 0 h 6191520"/>
              <a:gd name="connsiteX2" fmla="*/ 10623550 w 12191999"/>
              <a:gd name="connsiteY2" fmla="*/ 692150 h 6191520"/>
              <a:gd name="connsiteX3" fmla="*/ 11134726 w 12191999"/>
              <a:gd name="connsiteY3" fmla="*/ 876300 h 6191520"/>
              <a:gd name="connsiteX4" fmla="*/ 10858501 w 12191999"/>
              <a:gd name="connsiteY4" fmla="*/ 2076451 h 6191520"/>
              <a:gd name="connsiteX5" fmla="*/ 8181976 w 12191999"/>
              <a:gd name="connsiteY5" fmla="*/ 2343151 h 6191520"/>
              <a:gd name="connsiteX6" fmla="*/ 12039359 w 12191999"/>
              <a:gd name="connsiteY6" fmla="*/ 2642538 h 6191520"/>
              <a:gd name="connsiteX7" fmla="*/ 12191999 w 12191999"/>
              <a:gd name="connsiteY7" fmla="*/ 2680470 h 6191520"/>
              <a:gd name="connsiteX8" fmla="*/ 12191999 w 12191999"/>
              <a:gd name="connsiteY8" fmla="*/ 4461251 h 6191520"/>
              <a:gd name="connsiteX9" fmla="*/ 12029198 w 12191999"/>
              <a:gd name="connsiteY9" fmla="*/ 4498611 h 6191520"/>
              <a:gd name="connsiteX10" fmla="*/ 3400734 w 12191999"/>
              <a:gd name="connsiteY10" fmla="*/ 4691832 h 6191520"/>
              <a:gd name="connsiteX11" fmla="*/ 10825317 w 12191999"/>
              <a:gd name="connsiteY11" fmla="*/ 4906297 h 6191520"/>
              <a:gd name="connsiteX12" fmla="*/ 10753725 w 12191999"/>
              <a:gd name="connsiteY12" fmla="*/ 6188486 h 6191520"/>
              <a:gd name="connsiteX13" fmla="*/ 483866 w 12191999"/>
              <a:gd name="connsiteY13" fmla="*/ 5753127 h 6191520"/>
              <a:gd name="connsiteX14" fmla="*/ 0 w 12191999"/>
              <a:gd name="connsiteY14" fmla="*/ 5700385 h 6191520"/>
              <a:gd name="connsiteX15" fmla="*/ 0 w 12191999"/>
              <a:gd name="connsiteY15" fmla="*/ 3731019 h 6191520"/>
              <a:gd name="connsiteX16" fmla="*/ 92261 w 12191999"/>
              <a:gd name="connsiteY16" fmla="*/ 3708145 h 6191520"/>
              <a:gd name="connsiteX17" fmla="*/ 1002891 w 12191999"/>
              <a:gd name="connsiteY17" fmla="*/ 3618271 h 6191520"/>
              <a:gd name="connsiteX18" fmla="*/ 25475 w 12191999"/>
              <a:gd name="connsiteY18" fmla="*/ 3349301 h 6191520"/>
              <a:gd name="connsiteX19" fmla="*/ 0 w 12191999"/>
              <a:gd name="connsiteY19" fmla="*/ 3338246 h 6191520"/>
              <a:gd name="connsiteX20" fmla="*/ 0 w 12191999"/>
              <a:gd name="connsiteY20" fmla="*/ 2172532 h 6191520"/>
              <a:gd name="connsiteX21" fmla="*/ 31629 w 12191999"/>
              <a:gd name="connsiteY21" fmla="*/ 2142588 h 6191520"/>
              <a:gd name="connsiteX22" fmla="*/ 7181852 w 12191999"/>
              <a:gd name="connsiteY22" fmla="*/ 1143000 h 6191520"/>
              <a:gd name="connsiteX23" fmla="*/ 6684468 w 12191999"/>
              <a:gd name="connsiteY23" fmla="*/ 45095 h 6191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1999" h="6191520">
                <a:moveTo>
                  <a:pt x="6714175" y="0"/>
                </a:moveTo>
                <a:lnTo>
                  <a:pt x="8050801" y="0"/>
                </a:lnTo>
                <a:lnTo>
                  <a:pt x="10623550" y="692150"/>
                </a:lnTo>
                <a:cubicBezTo>
                  <a:pt x="10793942" y="753533"/>
                  <a:pt x="10856384" y="764117"/>
                  <a:pt x="11134726" y="876300"/>
                </a:cubicBezTo>
                <a:cubicBezTo>
                  <a:pt x="11772901" y="1309688"/>
                  <a:pt x="11091478" y="2063050"/>
                  <a:pt x="10858501" y="2076451"/>
                </a:cubicBezTo>
                <a:cubicBezTo>
                  <a:pt x="10637716" y="2089151"/>
                  <a:pt x="9112251" y="2251076"/>
                  <a:pt x="8181976" y="2343151"/>
                </a:cubicBezTo>
                <a:cubicBezTo>
                  <a:pt x="9457135" y="2448720"/>
                  <a:pt x="10834391" y="2371974"/>
                  <a:pt x="12039359" y="2642538"/>
                </a:cubicBezTo>
                <a:lnTo>
                  <a:pt x="12191999" y="2680470"/>
                </a:lnTo>
                <a:lnTo>
                  <a:pt x="12191999" y="4461251"/>
                </a:lnTo>
                <a:lnTo>
                  <a:pt x="12029198" y="4498611"/>
                </a:lnTo>
                <a:cubicBezTo>
                  <a:pt x="10052580" y="4896281"/>
                  <a:pt x="3595103" y="4625802"/>
                  <a:pt x="3400734" y="4691832"/>
                </a:cubicBezTo>
                <a:cubicBezTo>
                  <a:pt x="3200095" y="4759992"/>
                  <a:pt x="9835794" y="4794506"/>
                  <a:pt x="10825317" y="4906297"/>
                </a:cubicBezTo>
                <a:cubicBezTo>
                  <a:pt x="11814840" y="5018088"/>
                  <a:pt x="11251074" y="6260794"/>
                  <a:pt x="10753725" y="6188486"/>
                </a:cubicBezTo>
                <a:cubicBezTo>
                  <a:pt x="8313425" y="6094676"/>
                  <a:pt x="4231215" y="6130491"/>
                  <a:pt x="483866" y="5753127"/>
                </a:cubicBezTo>
                <a:lnTo>
                  <a:pt x="0" y="5700385"/>
                </a:lnTo>
                <a:lnTo>
                  <a:pt x="0" y="3731019"/>
                </a:lnTo>
                <a:lnTo>
                  <a:pt x="92261" y="3708145"/>
                </a:lnTo>
                <a:cubicBezTo>
                  <a:pt x="430911" y="3635859"/>
                  <a:pt x="902136" y="3639908"/>
                  <a:pt x="1002891" y="3618271"/>
                </a:cubicBezTo>
                <a:cubicBezTo>
                  <a:pt x="992048" y="3621510"/>
                  <a:pt x="391872" y="3496392"/>
                  <a:pt x="25475" y="3349301"/>
                </a:cubicBezTo>
                <a:lnTo>
                  <a:pt x="0" y="3338246"/>
                </a:lnTo>
                <a:lnTo>
                  <a:pt x="0" y="2172532"/>
                </a:lnTo>
                <a:lnTo>
                  <a:pt x="31629" y="2142588"/>
                </a:lnTo>
                <a:cubicBezTo>
                  <a:pt x="905081" y="1446802"/>
                  <a:pt x="4950569" y="1355124"/>
                  <a:pt x="7181852" y="1143000"/>
                </a:cubicBezTo>
                <a:cubicBezTo>
                  <a:pt x="6322221" y="1016794"/>
                  <a:pt x="6432353" y="456605"/>
                  <a:pt x="6684468" y="45095"/>
                </a:cubicBezTo>
                <a:close/>
              </a:path>
            </a:pathLst>
          </a:custGeom>
          <a:gradFill>
            <a:gsLst>
              <a:gs pos="81000">
                <a:schemeClr val="accent4"/>
              </a:gs>
              <a:gs pos="45000">
                <a:schemeClr val="accent5"/>
              </a:gs>
              <a:gs pos="0">
                <a:schemeClr val="accent5">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Content Right">
            <a:extLst>
              <a:ext uri="{FF2B5EF4-FFF2-40B4-BE49-F238E27FC236}">
                <a16:creationId xmlns:a16="http://schemas.microsoft.com/office/drawing/2014/main" id="{ADA28BE9-F121-8062-CBAD-9A343CD32FBD}"/>
              </a:ext>
            </a:extLst>
          </p:cNvPr>
          <p:cNvSpPr>
            <a:spLocks noGrp="1"/>
          </p:cNvSpPr>
          <p:nvPr>
            <p:ph type="body" sz="quarter" idx="15"/>
          </p:nvPr>
        </p:nvSpPr>
        <p:spPr>
          <a:xfrm>
            <a:off x="6555200" y="4497021"/>
            <a:ext cx="3860800" cy="1466293"/>
          </a:xfrm>
          <a:prstGeom prst="rect">
            <a:avLst/>
          </a:prstGeom>
        </p:spPr>
        <p:txBody>
          <a:bodyPr/>
          <a:lstStyle>
            <a:lvl1pPr>
              <a:spcBef>
                <a:spcPts val="200"/>
              </a:spcBef>
              <a:spcAft>
                <a:spcPts val="200"/>
              </a:spcAft>
              <a:defRPr sz="1800" baseline="0">
                <a:solidFill>
                  <a:schemeClr val="tx1"/>
                </a:solidFill>
                <a:latin typeface="+mn-lt"/>
                <a:ea typeface="+mn-ea"/>
                <a:cs typeface="+mn-cs"/>
              </a:defRPr>
            </a:lvl1pPr>
            <a:lvl2pPr>
              <a:spcBef>
                <a:spcPts val="200"/>
              </a:spcBef>
              <a:spcAft>
                <a:spcPts val="200"/>
              </a:spcAft>
              <a:buClr>
                <a:schemeClr val="tx1"/>
              </a:buClr>
              <a:defRPr sz="1800" baseline="0">
                <a:solidFill>
                  <a:schemeClr val="tx1"/>
                </a:solidFill>
                <a:latin typeface="+mn-lt"/>
                <a:ea typeface="+mn-ea"/>
                <a:cs typeface="+mn-cs"/>
              </a:defRPr>
            </a:lvl2pPr>
            <a:lvl3pPr>
              <a:spcBef>
                <a:spcPts val="200"/>
              </a:spcBef>
              <a:spcAft>
                <a:spcPts val="200"/>
              </a:spcAft>
              <a:defRPr sz="1800" baseline="0">
                <a:solidFill>
                  <a:schemeClr val="tx1"/>
                </a:solidFill>
                <a:latin typeface="+mn-lt"/>
                <a:ea typeface="+mn-ea"/>
                <a:cs typeface="+mn-cs"/>
              </a:defRPr>
            </a:lvl3pPr>
            <a:lvl4pPr>
              <a:spcBef>
                <a:spcPts val="200"/>
              </a:spcBef>
              <a:spcAft>
                <a:spcPts val="200"/>
              </a:spcAft>
              <a:defRPr sz="1800" baseline="0">
                <a:solidFill>
                  <a:schemeClr val="tx1"/>
                </a:solidFill>
                <a:latin typeface="+mn-lt"/>
                <a:ea typeface="+mn-ea"/>
                <a:cs typeface="+mn-cs"/>
              </a:defRPr>
            </a:lvl4pPr>
            <a:lvl5pPr>
              <a:spcBef>
                <a:spcPts val="600"/>
              </a:spcBef>
              <a:spcAft>
                <a:spcPts val="200"/>
              </a:spcAft>
              <a:defRPr sz="1800" baseline="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2" name="Content Left">
            <a:extLst>
              <a:ext uri="{FF2B5EF4-FFF2-40B4-BE49-F238E27FC236}">
                <a16:creationId xmlns:a16="http://schemas.microsoft.com/office/drawing/2014/main" id="{6E8E9C7C-A4E7-DBB7-A0F1-558FE349EB58}"/>
              </a:ext>
            </a:extLst>
          </p:cNvPr>
          <p:cNvSpPr>
            <a:spLocks noGrp="1"/>
          </p:cNvSpPr>
          <p:nvPr>
            <p:ph type="body" sz="quarter" idx="10"/>
          </p:nvPr>
        </p:nvSpPr>
        <p:spPr>
          <a:xfrm>
            <a:off x="1776000" y="4497021"/>
            <a:ext cx="3860800" cy="1466293"/>
          </a:xfrm>
          <a:prstGeom prst="rect">
            <a:avLst/>
          </a:prstGeom>
        </p:spPr>
        <p:txBody>
          <a:bodyPr/>
          <a:lstStyle>
            <a:lvl1pPr>
              <a:spcBef>
                <a:spcPts val="200"/>
              </a:spcBef>
              <a:spcAft>
                <a:spcPts val="200"/>
              </a:spcAft>
              <a:defRPr sz="1800" baseline="0">
                <a:solidFill>
                  <a:schemeClr val="tx1"/>
                </a:solidFill>
                <a:latin typeface="+mn-lt"/>
                <a:ea typeface="+mn-ea"/>
                <a:cs typeface="+mn-cs"/>
              </a:defRPr>
            </a:lvl1pPr>
            <a:lvl2pPr>
              <a:spcBef>
                <a:spcPts val="200"/>
              </a:spcBef>
              <a:spcAft>
                <a:spcPts val="200"/>
              </a:spcAft>
              <a:buClr>
                <a:schemeClr val="tx1"/>
              </a:buClr>
              <a:defRPr sz="1800" baseline="0">
                <a:solidFill>
                  <a:schemeClr val="tx1"/>
                </a:solidFill>
                <a:latin typeface="+mn-lt"/>
                <a:ea typeface="+mn-ea"/>
                <a:cs typeface="+mn-cs"/>
              </a:defRPr>
            </a:lvl2pPr>
            <a:lvl3pPr>
              <a:spcBef>
                <a:spcPts val="200"/>
              </a:spcBef>
              <a:spcAft>
                <a:spcPts val="200"/>
              </a:spcAft>
              <a:defRPr sz="1800" baseline="0">
                <a:solidFill>
                  <a:schemeClr val="tx1"/>
                </a:solidFill>
                <a:latin typeface="+mn-lt"/>
                <a:ea typeface="+mn-ea"/>
                <a:cs typeface="+mn-cs"/>
              </a:defRPr>
            </a:lvl3pPr>
            <a:lvl4pPr>
              <a:spcBef>
                <a:spcPts val="200"/>
              </a:spcBef>
              <a:spcAft>
                <a:spcPts val="200"/>
              </a:spcAft>
              <a:defRPr sz="1800" baseline="0">
                <a:solidFill>
                  <a:schemeClr val="tx1"/>
                </a:solidFill>
                <a:latin typeface="+mn-lt"/>
                <a:ea typeface="+mn-ea"/>
                <a:cs typeface="+mn-cs"/>
              </a:defRPr>
            </a:lvl4pPr>
            <a:lvl5pPr>
              <a:spcBef>
                <a:spcPts val="600"/>
              </a:spcBef>
              <a:spcAft>
                <a:spcPts val="200"/>
              </a:spcAft>
              <a:defRPr sz="1800" baseline="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lus Content">
            <a:extLst>
              <a:ext uri="{FF2B5EF4-FFF2-40B4-BE49-F238E27FC236}">
                <a16:creationId xmlns:a16="http://schemas.microsoft.com/office/drawing/2014/main" id="{59DCE367-7F86-E53B-D18B-45159C2992C4}"/>
              </a:ext>
            </a:extLst>
          </p:cNvPr>
          <p:cNvSpPr>
            <a:spLocks noGrp="1"/>
          </p:cNvSpPr>
          <p:nvPr>
            <p:ph type="body" sz="quarter" idx="20" hasCustomPrompt="1"/>
          </p:nvPr>
        </p:nvSpPr>
        <p:spPr>
          <a:xfrm>
            <a:off x="1776000" y="2662992"/>
            <a:ext cx="8639999" cy="1321965"/>
          </a:xfrm>
        </p:spPr>
        <p:txBody>
          <a:bodyPr anchor="ctr">
            <a:spAutoFit/>
          </a:bodyPr>
          <a:lstStyle>
            <a:lvl1pPr algn="ctr">
              <a:lnSpc>
                <a:spcPct val="105000"/>
              </a:lnSpc>
              <a:spcBef>
                <a:spcPts val="1200"/>
              </a:spcBef>
              <a:spcAft>
                <a:spcPct val="0"/>
              </a:spcAft>
              <a:defRPr sz="8800">
                <a:solidFill>
                  <a:schemeClr val="tx1"/>
                </a:solidFill>
                <a:latin typeface="+mj-lt"/>
              </a:defRPr>
            </a:lvl1pPr>
            <a:lvl2pPr marL="0" indent="0" algn="ctr">
              <a:lnSpc>
                <a:spcPct val="105000"/>
              </a:lnSpc>
              <a:buFontTx/>
              <a:buNone/>
              <a:defRPr sz="8800">
                <a:solidFill>
                  <a:schemeClr val="accent1"/>
                </a:solidFill>
                <a:latin typeface="+mj-lt"/>
              </a:defRPr>
            </a:lvl2pPr>
            <a:lvl3pPr marL="0" indent="0" algn="ctr">
              <a:spcBef>
                <a:spcPts val="1200"/>
              </a:spcBef>
              <a:spcAft>
                <a:spcPct val="0"/>
              </a:spcAft>
              <a:buFontTx/>
              <a:buNone/>
              <a:defRPr sz="4600">
                <a:solidFill>
                  <a:schemeClr val="tx1"/>
                </a:solidFill>
                <a:latin typeface="+mj-lt"/>
              </a:defRPr>
            </a:lvl3pPr>
            <a:lvl4pPr marL="0" indent="0" algn="ctr">
              <a:spcBef>
                <a:spcPts val="1200"/>
              </a:spcBef>
              <a:buClr>
                <a:schemeClr val="tx2"/>
              </a:buClr>
              <a:buFontTx/>
              <a:buNone/>
              <a:defRPr sz="4600">
                <a:solidFill>
                  <a:schemeClr val="accent1"/>
                </a:solidFill>
                <a:latin typeface="+mj-lt"/>
              </a:defRPr>
            </a:lvl4pPr>
            <a:lvl5pPr marL="0" indent="0" algn="l">
              <a:spcBef>
                <a:spcPts val="1200"/>
              </a:spcBef>
              <a:spcAft>
                <a:spcPct val="0"/>
              </a:spcAft>
              <a:buClr>
                <a:schemeClr val="tx2"/>
              </a:buClr>
              <a:buFontTx/>
              <a:buNone/>
              <a:defRPr sz="1800" b="0">
                <a:solidFill>
                  <a:schemeClr val="tx1"/>
                </a:solidFill>
                <a:latin typeface="+mn-lt"/>
              </a:defRPr>
            </a:lvl5pPr>
            <a:lvl6pPr marL="0" indent="0" algn="l">
              <a:spcBef>
                <a:spcPts val="1200"/>
              </a:spcBef>
              <a:spcAft>
                <a:spcPct val="0"/>
              </a:spcAft>
              <a:buFontTx/>
              <a:buNone/>
              <a:defRPr sz="1800" b="0" baseline="0">
                <a:solidFill>
                  <a:schemeClr val="accent1"/>
                </a:solidFill>
                <a:latin typeface="+mn-lt"/>
              </a:defRPr>
            </a:lvl6pPr>
            <a:lvl7pPr marL="0" indent="0" algn="ctr">
              <a:spcBef>
                <a:spcPts val="1200"/>
              </a:spcBef>
              <a:buFontTx/>
              <a:buNone/>
              <a:defRPr sz="1800">
                <a:solidFill>
                  <a:schemeClr val="tx1"/>
                </a:solidFill>
                <a:latin typeface="+mn-lt"/>
              </a:defRPr>
            </a:lvl7pPr>
            <a:lvl8pPr marL="0" indent="0" algn="ctr">
              <a:spcBef>
                <a:spcPts val="1200"/>
              </a:spcBef>
              <a:buFontTx/>
              <a:buNone/>
              <a:defRPr sz="1800">
                <a:solidFill>
                  <a:schemeClr val="accent1"/>
                </a:solidFill>
                <a:latin typeface="+mn-lt"/>
              </a:defRPr>
            </a:lvl8pPr>
            <a:lvl9pPr algn="ctr">
              <a:defRPr>
                <a:solidFill>
                  <a:schemeClr val="accent1"/>
                </a:solidFill>
              </a:defRPr>
            </a:lvl9pPr>
          </a:lstStyle>
          <a:p>
            <a:pPr lvl="0"/>
            <a:r>
              <a:rPr lang="en-GB"/>
              <a:t>Headline/Quote</a:t>
            </a:r>
          </a:p>
        </p:txBody>
      </p:sp>
    </p:spTree>
    <p:extLst>
      <p:ext uri="{BB962C8B-B14F-4D97-AF65-F5344CB8AC3E}">
        <p14:creationId xmlns:p14="http://schemas.microsoft.com/office/powerpoint/2010/main" val="16455961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ighlight CE">
    <p:bg>
      <p:bgPr>
        <a:gradFill>
          <a:gsLst>
            <a:gs pos="100000">
              <a:schemeClr val="accent2"/>
            </a:gs>
            <a:gs pos="1000">
              <a:schemeClr val="accent6"/>
            </a:gs>
          </a:gsLst>
          <a:lin ang="18900000" scaled="1"/>
        </a:gradFill>
        <a:effectLst/>
      </p:bgPr>
    </p:bg>
    <p:spTree>
      <p:nvGrpSpPr>
        <p:cNvPr id="1" name=""/>
        <p:cNvGrpSpPr/>
        <p:nvPr/>
      </p:nvGrpSpPr>
      <p:grpSpPr>
        <a:xfrm>
          <a:off x="0" y="0"/>
          <a:ext cx="0" cy="0"/>
          <a:chOff x="0" y="0"/>
          <a:chExt cx="0" cy="0"/>
        </a:xfrm>
      </p:grpSpPr>
      <p:sp>
        <p:nvSpPr>
          <p:cNvPr id="20" name="Squiggle">
            <a:extLst>
              <a:ext uri="{FF2B5EF4-FFF2-40B4-BE49-F238E27FC236}">
                <a16:creationId xmlns:a16="http://schemas.microsoft.com/office/drawing/2014/main" id="{06464395-C2C6-ABCC-8A0F-EB434784476E}"/>
              </a:ext>
            </a:extLst>
          </p:cNvPr>
          <p:cNvSpPr/>
          <p:nvPr/>
        </p:nvSpPr>
        <p:spPr>
          <a:xfrm flipH="1">
            <a:off x="0" y="12700"/>
            <a:ext cx="12192000" cy="6845300"/>
          </a:xfrm>
          <a:custGeom>
            <a:avLst/>
            <a:gdLst>
              <a:gd name="connsiteX0" fmla="*/ 6199289 w 12192000"/>
              <a:gd name="connsiteY0" fmla="*/ 0 h 6845300"/>
              <a:gd name="connsiteX1" fmla="*/ 7203731 w 12192000"/>
              <a:gd name="connsiteY1" fmla="*/ 0 h 6845300"/>
              <a:gd name="connsiteX2" fmla="*/ 7359622 w 12192000"/>
              <a:gd name="connsiteY2" fmla="*/ 49453 h 6845300"/>
              <a:gd name="connsiteX3" fmla="*/ 8414960 w 12192000"/>
              <a:gd name="connsiteY3" fmla="*/ 1606495 h 6845300"/>
              <a:gd name="connsiteX4" fmla="*/ 5466469 w 12192000"/>
              <a:gd name="connsiteY4" fmla="*/ 2898099 h 6845300"/>
              <a:gd name="connsiteX5" fmla="*/ 5510206 w 12192000"/>
              <a:gd name="connsiteY5" fmla="*/ 2901236 h 6845300"/>
              <a:gd name="connsiteX6" fmla="*/ 5460194 w 12192000"/>
              <a:gd name="connsiteY6" fmla="*/ 2910257 h 6845300"/>
              <a:gd name="connsiteX7" fmla="*/ 5519365 w 12192000"/>
              <a:gd name="connsiteY7" fmla="*/ 2901893 h 6845300"/>
              <a:gd name="connsiteX8" fmla="*/ 5510206 w 12192000"/>
              <a:gd name="connsiteY8" fmla="*/ 2901236 h 6845300"/>
              <a:gd name="connsiteX9" fmla="*/ 5580191 w 12192000"/>
              <a:gd name="connsiteY9" fmla="*/ 2888612 h 6845300"/>
              <a:gd name="connsiteX10" fmla="*/ 11972077 w 12192000"/>
              <a:gd name="connsiteY10" fmla="*/ 2171553 h 6845300"/>
              <a:gd name="connsiteX11" fmla="*/ 12192000 w 12192000"/>
              <a:gd name="connsiteY11" fmla="*/ 2178484 h 6845300"/>
              <a:gd name="connsiteX12" fmla="*/ 12192000 w 12192000"/>
              <a:gd name="connsiteY12" fmla="*/ 5299398 h 6845300"/>
              <a:gd name="connsiteX13" fmla="*/ 12167811 w 12192000"/>
              <a:gd name="connsiteY13" fmla="*/ 5321244 h 6845300"/>
              <a:gd name="connsiteX14" fmla="*/ 6833810 w 12192000"/>
              <a:gd name="connsiteY14" fmla="*/ 6845245 h 6845300"/>
              <a:gd name="connsiteX15" fmla="*/ 4014410 w 12192000"/>
              <a:gd name="connsiteY15" fmla="*/ 5721294 h 6845300"/>
              <a:gd name="connsiteX16" fmla="*/ 6090862 w 12192000"/>
              <a:gd name="connsiteY16" fmla="*/ 5016445 h 6845300"/>
              <a:gd name="connsiteX17" fmla="*/ 8091111 w 12192000"/>
              <a:gd name="connsiteY17" fmla="*/ 4387794 h 6845300"/>
              <a:gd name="connsiteX18" fmla="*/ 133191 w 12192000"/>
              <a:gd name="connsiteY18" fmla="*/ 5201685 h 6845300"/>
              <a:gd name="connsiteX19" fmla="*/ 0 w 12192000"/>
              <a:gd name="connsiteY19" fmla="*/ 5177688 h 6845300"/>
              <a:gd name="connsiteX20" fmla="*/ 0 w 12192000"/>
              <a:gd name="connsiteY20" fmla="*/ 2436193 h 684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000" h="6845300">
                <a:moveTo>
                  <a:pt x="6199289" y="0"/>
                </a:moveTo>
                <a:lnTo>
                  <a:pt x="7203731" y="0"/>
                </a:lnTo>
                <a:lnTo>
                  <a:pt x="7359622" y="49453"/>
                </a:lnTo>
                <a:cubicBezTo>
                  <a:pt x="8204617" y="379158"/>
                  <a:pt x="8544341" y="1258039"/>
                  <a:pt x="8414960" y="1606495"/>
                </a:cubicBezTo>
                <a:cubicBezTo>
                  <a:pt x="8247843" y="2056585"/>
                  <a:pt x="5039486" y="2835429"/>
                  <a:pt x="5466469" y="2898099"/>
                </a:cubicBezTo>
                <a:lnTo>
                  <a:pt x="5510206" y="2901236"/>
                </a:lnTo>
                <a:lnTo>
                  <a:pt x="5460194" y="2910257"/>
                </a:lnTo>
                <a:cubicBezTo>
                  <a:pt x="5292756" y="2940883"/>
                  <a:pt x="5292153" y="2943234"/>
                  <a:pt x="5519365" y="2901893"/>
                </a:cubicBezTo>
                <a:lnTo>
                  <a:pt x="5510206" y="2901236"/>
                </a:lnTo>
                <a:lnTo>
                  <a:pt x="5580191" y="2888612"/>
                </a:lnTo>
                <a:cubicBezTo>
                  <a:pt x="6521601" y="2720756"/>
                  <a:pt x="10015123" y="2137155"/>
                  <a:pt x="11972077" y="2171553"/>
                </a:cubicBezTo>
                <a:lnTo>
                  <a:pt x="12192000" y="2178484"/>
                </a:lnTo>
                <a:lnTo>
                  <a:pt x="12192000" y="5299398"/>
                </a:lnTo>
                <a:lnTo>
                  <a:pt x="12167811" y="5321244"/>
                </a:lnTo>
                <a:cubicBezTo>
                  <a:pt x="11357127" y="6035619"/>
                  <a:pt x="8192710" y="6781745"/>
                  <a:pt x="6833810" y="6845245"/>
                </a:cubicBezTo>
                <a:cubicBezTo>
                  <a:pt x="5589211" y="6851595"/>
                  <a:pt x="4014410" y="6315019"/>
                  <a:pt x="4014410" y="5721294"/>
                </a:cubicBezTo>
                <a:cubicBezTo>
                  <a:pt x="4014410" y="5127569"/>
                  <a:pt x="5411411" y="5238695"/>
                  <a:pt x="6090862" y="5016445"/>
                </a:cubicBezTo>
                <a:cubicBezTo>
                  <a:pt x="6770312" y="4794195"/>
                  <a:pt x="9538911" y="4140145"/>
                  <a:pt x="8091111" y="4387794"/>
                </a:cubicBezTo>
                <a:cubicBezTo>
                  <a:pt x="6733800" y="4619965"/>
                  <a:pt x="1980415" y="5478145"/>
                  <a:pt x="133191" y="5201685"/>
                </a:cubicBezTo>
                <a:lnTo>
                  <a:pt x="0" y="5177688"/>
                </a:lnTo>
                <a:lnTo>
                  <a:pt x="0" y="2436193"/>
                </a:lnTo>
                <a:close/>
              </a:path>
            </a:pathLst>
          </a:custGeom>
          <a:gradFill flip="none" rotWithShape="1">
            <a:gsLst>
              <a:gs pos="89000">
                <a:srgbClr val="00B8E1"/>
              </a:gs>
              <a:gs pos="58000">
                <a:srgbClr val="00B9BB"/>
              </a:gs>
              <a:gs pos="13000">
                <a:schemeClr val="accent6"/>
              </a:gs>
            </a:gsLst>
            <a:lin ang="5400000" scaled="1"/>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203200" tIns="203200" rIns="203200" bIns="203200" rtlCol="0" anchor="ctr">
            <a:noAutofit/>
          </a:bodyPr>
          <a:lstStyle/>
          <a:p>
            <a:pPr algn="ctr" defTabSz="486000"/>
            <a:endParaRPr lang="en-US">
              <a:solidFill>
                <a:schemeClr val="tx1"/>
              </a:solidFill>
            </a:endParaRPr>
          </a:p>
        </p:txBody>
      </p:sp>
      <p:sp>
        <p:nvSpPr>
          <p:cNvPr id="12" name="Content Left">
            <a:extLst>
              <a:ext uri="{FF2B5EF4-FFF2-40B4-BE49-F238E27FC236}">
                <a16:creationId xmlns:a16="http://schemas.microsoft.com/office/drawing/2014/main" id="{C838D4E0-5FA5-149F-DA63-553729867704}"/>
              </a:ext>
            </a:extLst>
          </p:cNvPr>
          <p:cNvSpPr>
            <a:spLocks noGrp="1"/>
          </p:cNvSpPr>
          <p:nvPr>
            <p:ph type="body" sz="quarter" idx="10"/>
          </p:nvPr>
        </p:nvSpPr>
        <p:spPr>
          <a:xfrm>
            <a:off x="1776000" y="4497021"/>
            <a:ext cx="3860800" cy="1466293"/>
          </a:xfrm>
          <a:prstGeom prst="rect">
            <a:avLst/>
          </a:prstGeom>
        </p:spPr>
        <p:txBody>
          <a:bodyPr/>
          <a:lstStyle>
            <a:lvl1pPr>
              <a:spcBef>
                <a:spcPts val="200"/>
              </a:spcBef>
              <a:spcAft>
                <a:spcPts val="200"/>
              </a:spcAft>
              <a:defRPr sz="1800" baseline="0">
                <a:solidFill>
                  <a:schemeClr val="tx1"/>
                </a:solidFill>
                <a:latin typeface="+mn-lt"/>
                <a:ea typeface="+mn-ea"/>
                <a:cs typeface="+mn-cs"/>
              </a:defRPr>
            </a:lvl1pPr>
            <a:lvl2pPr>
              <a:spcBef>
                <a:spcPts val="200"/>
              </a:spcBef>
              <a:spcAft>
                <a:spcPts val="200"/>
              </a:spcAft>
              <a:buClr>
                <a:schemeClr val="tx1"/>
              </a:buClr>
              <a:defRPr sz="1800" baseline="0">
                <a:solidFill>
                  <a:schemeClr val="tx1"/>
                </a:solidFill>
                <a:latin typeface="+mn-lt"/>
                <a:ea typeface="+mn-ea"/>
                <a:cs typeface="+mn-cs"/>
              </a:defRPr>
            </a:lvl2pPr>
            <a:lvl3pPr>
              <a:spcBef>
                <a:spcPts val="200"/>
              </a:spcBef>
              <a:spcAft>
                <a:spcPts val="200"/>
              </a:spcAft>
              <a:defRPr sz="1800" baseline="0">
                <a:solidFill>
                  <a:schemeClr val="tx1"/>
                </a:solidFill>
                <a:latin typeface="+mn-lt"/>
                <a:ea typeface="+mn-ea"/>
                <a:cs typeface="+mn-cs"/>
              </a:defRPr>
            </a:lvl3pPr>
            <a:lvl4pPr>
              <a:spcBef>
                <a:spcPts val="200"/>
              </a:spcBef>
              <a:spcAft>
                <a:spcPts val="200"/>
              </a:spcAft>
              <a:defRPr sz="1800" baseline="0">
                <a:solidFill>
                  <a:schemeClr val="tx1"/>
                </a:solidFill>
                <a:latin typeface="+mn-lt"/>
                <a:ea typeface="+mn-ea"/>
                <a:cs typeface="+mn-cs"/>
              </a:defRPr>
            </a:lvl4pPr>
            <a:lvl5pPr>
              <a:spcBef>
                <a:spcPts val="600"/>
              </a:spcBef>
              <a:spcAft>
                <a:spcPts val="200"/>
              </a:spcAft>
              <a:defRPr sz="1800" baseline="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3" name="Content Right">
            <a:extLst>
              <a:ext uri="{FF2B5EF4-FFF2-40B4-BE49-F238E27FC236}">
                <a16:creationId xmlns:a16="http://schemas.microsoft.com/office/drawing/2014/main" id="{4D97221C-C54B-48A3-07B5-36612F448B3F}"/>
              </a:ext>
            </a:extLst>
          </p:cNvPr>
          <p:cNvSpPr>
            <a:spLocks noGrp="1"/>
          </p:cNvSpPr>
          <p:nvPr>
            <p:ph type="body" sz="quarter" idx="15"/>
          </p:nvPr>
        </p:nvSpPr>
        <p:spPr>
          <a:xfrm>
            <a:off x="6555200" y="4497021"/>
            <a:ext cx="3860800" cy="1466293"/>
          </a:xfrm>
          <a:prstGeom prst="rect">
            <a:avLst/>
          </a:prstGeom>
        </p:spPr>
        <p:txBody>
          <a:bodyPr/>
          <a:lstStyle>
            <a:lvl1pPr>
              <a:spcBef>
                <a:spcPts val="200"/>
              </a:spcBef>
              <a:spcAft>
                <a:spcPts val="200"/>
              </a:spcAft>
              <a:defRPr sz="1800" baseline="0">
                <a:solidFill>
                  <a:schemeClr val="tx1"/>
                </a:solidFill>
                <a:latin typeface="+mn-lt"/>
                <a:ea typeface="+mn-ea"/>
                <a:cs typeface="+mn-cs"/>
              </a:defRPr>
            </a:lvl1pPr>
            <a:lvl2pPr>
              <a:spcBef>
                <a:spcPts val="200"/>
              </a:spcBef>
              <a:spcAft>
                <a:spcPts val="200"/>
              </a:spcAft>
              <a:buClr>
                <a:schemeClr val="tx1"/>
              </a:buClr>
              <a:defRPr sz="1800" baseline="0">
                <a:solidFill>
                  <a:schemeClr val="tx1"/>
                </a:solidFill>
                <a:latin typeface="+mn-lt"/>
                <a:ea typeface="+mn-ea"/>
                <a:cs typeface="+mn-cs"/>
              </a:defRPr>
            </a:lvl2pPr>
            <a:lvl3pPr>
              <a:spcBef>
                <a:spcPts val="200"/>
              </a:spcBef>
              <a:spcAft>
                <a:spcPts val="200"/>
              </a:spcAft>
              <a:defRPr sz="1800" baseline="0">
                <a:solidFill>
                  <a:schemeClr val="tx1"/>
                </a:solidFill>
                <a:latin typeface="+mn-lt"/>
                <a:ea typeface="+mn-ea"/>
                <a:cs typeface="+mn-cs"/>
              </a:defRPr>
            </a:lvl3pPr>
            <a:lvl4pPr>
              <a:spcBef>
                <a:spcPts val="200"/>
              </a:spcBef>
              <a:spcAft>
                <a:spcPts val="200"/>
              </a:spcAft>
              <a:defRPr sz="1800" baseline="0">
                <a:solidFill>
                  <a:schemeClr val="tx1"/>
                </a:solidFill>
                <a:latin typeface="+mn-lt"/>
                <a:ea typeface="+mn-ea"/>
                <a:cs typeface="+mn-cs"/>
              </a:defRPr>
            </a:lvl4pPr>
            <a:lvl5pPr>
              <a:spcBef>
                <a:spcPts val="600"/>
              </a:spcBef>
              <a:spcAft>
                <a:spcPts val="200"/>
              </a:spcAft>
              <a:defRPr sz="1800" baseline="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lus Content">
            <a:extLst>
              <a:ext uri="{FF2B5EF4-FFF2-40B4-BE49-F238E27FC236}">
                <a16:creationId xmlns:a16="http://schemas.microsoft.com/office/drawing/2014/main" id="{DE9B26B4-B170-0585-EE3B-86F2524427DA}"/>
              </a:ext>
            </a:extLst>
          </p:cNvPr>
          <p:cNvSpPr>
            <a:spLocks noGrp="1"/>
          </p:cNvSpPr>
          <p:nvPr>
            <p:ph type="body" sz="quarter" idx="20" hasCustomPrompt="1"/>
          </p:nvPr>
        </p:nvSpPr>
        <p:spPr>
          <a:xfrm>
            <a:off x="1776000" y="2662992"/>
            <a:ext cx="8639999" cy="1321965"/>
          </a:xfrm>
        </p:spPr>
        <p:txBody>
          <a:bodyPr anchor="ctr">
            <a:spAutoFit/>
          </a:bodyPr>
          <a:lstStyle>
            <a:lvl1pPr algn="ctr">
              <a:lnSpc>
                <a:spcPct val="105000"/>
              </a:lnSpc>
              <a:spcBef>
                <a:spcPts val="1200"/>
              </a:spcBef>
              <a:spcAft>
                <a:spcPct val="0"/>
              </a:spcAft>
              <a:defRPr sz="8800">
                <a:solidFill>
                  <a:schemeClr val="tx1"/>
                </a:solidFill>
                <a:latin typeface="+mj-lt"/>
              </a:defRPr>
            </a:lvl1pPr>
            <a:lvl2pPr marL="0" indent="0" algn="ctr">
              <a:lnSpc>
                <a:spcPct val="105000"/>
              </a:lnSpc>
              <a:buFontTx/>
              <a:buNone/>
              <a:defRPr sz="8800">
                <a:solidFill>
                  <a:schemeClr val="accent4"/>
                </a:solidFill>
                <a:latin typeface="+mj-lt"/>
              </a:defRPr>
            </a:lvl2pPr>
            <a:lvl3pPr marL="0" indent="0" algn="ctr">
              <a:spcBef>
                <a:spcPts val="1200"/>
              </a:spcBef>
              <a:spcAft>
                <a:spcPct val="0"/>
              </a:spcAft>
              <a:buFontTx/>
              <a:buNone/>
              <a:defRPr sz="4600">
                <a:solidFill>
                  <a:schemeClr val="tx1"/>
                </a:solidFill>
                <a:latin typeface="+mj-lt"/>
              </a:defRPr>
            </a:lvl3pPr>
            <a:lvl4pPr marL="0" indent="0" algn="ctr">
              <a:spcBef>
                <a:spcPts val="1200"/>
              </a:spcBef>
              <a:buClr>
                <a:schemeClr val="tx2"/>
              </a:buClr>
              <a:buFontTx/>
              <a:buNone/>
              <a:defRPr sz="4600">
                <a:solidFill>
                  <a:schemeClr val="accent4"/>
                </a:solidFill>
                <a:latin typeface="+mj-lt"/>
              </a:defRPr>
            </a:lvl4pPr>
            <a:lvl5pPr marL="0" indent="0" algn="l">
              <a:spcBef>
                <a:spcPts val="1200"/>
              </a:spcBef>
              <a:spcAft>
                <a:spcPct val="0"/>
              </a:spcAft>
              <a:buClr>
                <a:schemeClr val="tx2"/>
              </a:buClr>
              <a:buFontTx/>
              <a:buNone/>
              <a:defRPr sz="1800" b="0">
                <a:solidFill>
                  <a:schemeClr val="tx1"/>
                </a:solidFill>
                <a:latin typeface="+mn-lt"/>
              </a:defRPr>
            </a:lvl5pPr>
            <a:lvl6pPr marL="0" indent="0" algn="l">
              <a:spcBef>
                <a:spcPts val="1200"/>
              </a:spcBef>
              <a:spcAft>
                <a:spcPct val="0"/>
              </a:spcAft>
              <a:buFontTx/>
              <a:buNone/>
              <a:defRPr sz="1800" b="0" baseline="0">
                <a:solidFill>
                  <a:schemeClr val="accent4"/>
                </a:solidFill>
                <a:latin typeface="+mn-lt"/>
              </a:defRPr>
            </a:lvl6pPr>
            <a:lvl7pPr marL="0" indent="0" algn="ctr">
              <a:spcBef>
                <a:spcPts val="1200"/>
              </a:spcBef>
              <a:buFontTx/>
              <a:buNone/>
              <a:defRPr sz="1800">
                <a:solidFill>
                  <a:schemeClr val="tx1"/>
                </a:solidFill>
                <a:latin typeface="+mn-lt"/>
              </a:defRPr>
            </a:lvl7pPr>
            <a:lvl8pPr marL="0" indent="0" algn="ctr">
              <a:spcBef>
                <a:spcPts val="1200"/>
              </a:spcBef>
              <a:buFontTx/>
              <a:buNone/>
              <a:defRPr sz="1800">
                <a:solidFill>
                  <a:schemeClr val="accent4"/>
                </a:solidFill>
                <a:latin typeface="+mn-lt"/>
              </a:defRPr>
            </a:lvl8pPr>
            <a:lvl9pPr algn="ctr">
              <a:defRPr>
                <a:solidFill>
                  <a:schemeClr val="accent4"/>
                </a:solidFill>
              </a:defRPr>
            </a:lvl9pPr>
          </a:lstStyle>
          <a:p>
            <a:pPr lvl="0"/>
            <a:r>
              <a:rPr lang="en-GB"/>
              <a:t>Headline/Quote</a:t>
            </a:r>
          </a:p>
        </p:txBody>
      </p:sp>
    </p:spTree>
    <p:extLst>
      <p:ext uri="{BB962C8B-B14F-4D97-AF65-F5344CB8AC3E}">
        <p14:creationId xmlns:p14="http://schemas.microsoft.com/office/powerpoint/2010/main" val="3331819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Highlight DA">
    <p:bg>
      <p:bgPr>
        <a:gradFill>
          <a:gsLst>
            <a:gs pos="0">
              <a:schemeClr val="accent2"/>
            </a:gs>
            <a:gs pos="100000">
              <a:schemeClr val="accent3"/>
            </a:gs>
          </a:gsLst>
          <a:lin ang="18900000" scaled="0"/>
        </a:gradFill>
        <a:effectLst/>
      </p:bgPr>
    </p:bg>
    <p:spTree>
      <p:nvGrpSpPr>
        <p:cNvPr id="1" name=""/>
        <p:cNvGrpSpPr/>
        <p:nvPr/>
      </p:nvGrpSpPr>
      <p:grpSpPr>
        <a:xfrm>
          <a:off x="0" y="0"/>
          <a:ext cx="0" cy="0"/>
          <a:chOff x="0" y="0"/>
          <a:chExt cx="0" cy="0"/>
        </a:xfrm>
      </p:grpSpPr>
      <p:sp>
        <p:nvSpPr>
          <p:cNvPr id="17" name="Squiggle">
            <a:extLst>
              <a:ext uri="{FF2B5EF4-FFF2-40B4-BE49-F238E27FC236}">
                <a16:creationId xmlns:a16="http://schemas.microsoft.com/office/drawing/2014/main" id="{1E6DD7F4-E2C2-F58B-157D-CC07C47C23C1}"/>
              </a:ext>
            </a:extLst>
          </p:cNvPr>
          <p:cNvSpPr/>
          <p:nvPr/>
        </p:nvSpPr>
        <p:spPr>
          <a:xfrm>
            <a:off x="1" y="0"/>
            <a:ext cx="12191999" cy="6858000"/>
          </a:xfrm>
          <a:custGeom>
            <a:avLst/>
            <a:gdLst>
              <a:gd name="connsiteX0" fmla="*/ 6714175 w 12191999"/>
              <a:gd name="connsiteY0" fmla="*/ 0 h 6191520"/>
              <a:gd name="connsiteX1" fmla="*/ 8050801 w 12191999"/>
              <a:gd name="connsiteY1" fmla="*/ 0 h 6191520"/>
              <a:gd name="connsiteX2" fmla="*/ 10623550 w 12191999"/>
              <a:gd name="connsiteY2" fmla="*/ 692150 h 6191520"/>
              <a:gd name="connsiteX3" fmla="*/ 11134726 w 12191999"/>
              <a:gd name="connsiteY3" fmla="*/ 876300 h 6191520"/>
              <a:gd name="connsiteX4" fmla="*/ 10858501 w 12191999"/>
              <a:gd name="connsiteY4" fmla="*/ 2076451 h 6191520"/>
              <a:gd name="connsiteX5" fmla="*/ 8181976 w 12191999"/>
              <a:gd name="connsiteY5" fmla="*/ 2343151 h 6191520"/>
              <a:gd name="connsiteX6" fmla="*/ 12039359 w 12191999"/>
              <a:gd name="connsiteY6" fmla="*/ 2642538 h 6191520"/>
              <a:gd name="connsiteX7" fmla="*/ 12191999 w 12191999"/>
              <a:gd name="connsiteY7" fmla="*/ 2680470 h 6191520"/>
              <a:gd name="connsiteX8" fmla="*/ 12191999 w 12191999"/>
              <a:gd name="connsiteY8" fmla="*/ 4461251 h 6191520"/>
              <a:gd name="connsiteX9" fmla="*/ 12029198 w 12191999"/>
              <a:gd name="connsiteY9" fmla="*/ 4498611 h 6191520"/>
              <a:gd name="connsiteX10" fmla="*/ 3400734 w 12191999"/>
              <a:gd name="connsiteY10" fmla="*/ 4691832 h 6191520"/>
              <a:gd name="connsiteX11" fmla="*/ 10825317 w 12191999"/>
              <a:gd name="connsiteY11" fmla="*/ 4906297 h 6191520"/>
              <a:gd name="connsiteX12" fmla="*/ 10753725 w 12191999"/>
              <a:gd name="connsiteY12" fmla="*/ 6188486 h 6191520"/>
              <a:gd name="connsiteX13" fmla="*/ 483866 w 12191999"/>
              <a:gd name="connsiteY13" fmla="*/ 5753127 h 6191520"/>
              <a:gd name="connsiteX14" fmla="*/ 0 w 12191999"/>
              <a:gd name="connsiteY14" fmla="*/ 5700385 h 6191520"/>
              <a:gd name="connsiteX15" fmla="*/ 0 w 12191999"/>
              <a:gd name="connsiteY15" fmla="*/ 3731019 h 6191520"/>
              <a:gd name="connsiteX16" fmla="*/ 92261 w 12191999"/>
              <a:gd name="connsiteY16" fmla="*/ 3708145 h 6191520"/>
              <a:gd name="connsiteX17" fmla="*/ 1002891 w 12191999"/>
              <a:gd name="connsiteY17" fmla="*/ 3618271 h 6191520"/>
              <a:gd name="connsiteX18" fmla="*/ 25475 w 12191999"/>
              <a:gd name="connsiteY18" fmla="*/ 3349301 h 6191520"/>
              <a:gd name="connsiteX19" fmla="*/ 0 w 12191999"/>
              <a:gd name="connsiteY19" fmla="*/ 3338246 h 6191520"/>
              <a:gd name="connsiteX20" fmla="*/ 0 w 12191999"/>
              <a:gd name="connsiteY20" fmla="*/ 2172532 h 6191520"/>
              <a:gd name="connsiteX21" fmla="*/ 31629 w 12191999"/>
              <a:gd name="connsiteY21" fmla="*/ 2142588 h 6191520"/>
              <a:gd name="connsiteX22" fmla="*/ 7181852 w 12191999"/>
              <a:gd name="connsiteY22" fmla="*/ 1143000 h 6191520"/>
              <a:gd name="connsiteX23" fmla="*/ 6684468 w 12191999"/>
              <a:gd name="connsiteY23" fmla="*/ 45095 h 6191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1999" h="6191520">
                <a:moveTo>
                  <a:pt x="6714175" y="0"/>
                </a:moveTo>
                <a:lnTo>
                  <a:pt x="8050801" y="0"/>
                </a:lnTo>
                <a:lnTo>
                  <a:pt x="10623550" y="692150"/>
                </a:lnTo>
                <a:cubicBezTo>
                  <a:pt x="10793942" y="753533"/>
                  <a:pt x="10856384" y="764117"/>
                  <a:pt x="11134726" y="876300"/>
                </a:cubicBezTo>
                <a:cubicBezTo>
                  <a:pt x="11772901" y="1309688"/>
                  <a:pt x="11091478" y="2063050"/>
                  <a:pt x="10858501" y="2076451"/>
                </a:cubicBezTo>
                <a:cubicBezTo>
                  <a:pt x="10637716" y="2089151"/>
                  <a:pt x="9112251" y="2251076"/>
                  <a:pt x="8181976" y="2343151"/>
                </a:cubicBezTo>
                <a:cubicBezTo>
                  <a:pt x="9457135" y="2448720"/>
                  <a:pt x="10834391" y="2371974"/>
                  <a:pt x="12039359" y="2642538"/>
                </a:cubicBezTo>
                <a:lnTo>
                  <a:pt x="12191999" y="2680470"/>
                </a:lnTo>
                <a:lnTo>
                  <a:pt x="12191999" y="4461251"/>
                </a:lnTo>
                <a:lnTo>
                  <a:pt x="12029198" y="4498611"/>
                </a:lnTo>
                <a:cubicBezTo>
                  <a:pt x="10052580" y="4896281"/>
                  <a:pt x="3595103" y="4625802"/>
                  <a:pt x="3400734" y="4691832"/>
                </a:cubicBezTo>
                <a:cubicBezTo>
                  <a:pt x="3200095" y="4759992"/>
                  <a:pt x="9835794" y="4794506"/>
                  <a:pt x="10825317" y="4906297"/>
                </a:cubicBezTo>
                <a:cubicBezTo>
                  <a:pt x="11814840" y="5018088"/>
                  <a:pt x="11251074" y="6260794"/>
                  <a:pt x="10753725" y="6188486"/>
                </a:cubicBezTo>
                <a:cubicBezTo>
                  <a:pt x="8313425" y="6094676"/>
                  <a:pt x="4231215" y="6130491"/>
                  <a:pt x="483866" y="5753127"/>
                </a:cubicBezTo>
                <a:lnTo>
                  <a:pt x="0" y="5700385"/>
                </a:lnTo>
                <a:lnTo>
                  <a:pt x="0" y="3731019"/>
                </a:lnTo>
                <a:lnTo>
                  <a:pt x="92261" y="3708145"/>
                </a:lnTo>
                <a:cubicBezTo>
                  <a:pt x="430911" y="3635859"/>
                  <a:pt x="902136" y="3639908"/>
                  <a:pt x="1002891" y="3618271"/>
                </a:cubicBezTo>
                <a:cubicBezTo>
                  <a:pt x="992048" y="3621510"/>
                  <a:pt x="391872" y="3496392"/>
                  <a:pt x="25475" y="3349301"/>
                </a:cubicBezTo>
                <a:lnTo>
                  <a:pt x="0" y="3338246"/>
                </a:lnTo>
                <a:lnTo>
                  <a:pt x="0" y="2172532"/>
                </a:lnTo>
                <a:lnTo>
                  <a:pt x="31629" y="2142588"/>
                </a:lnTo>
                <a:cubicBezTo>
                  <a:pt x="905081" y="1446802"/>
                  <a:pt x="4950569" y="1355124"/>
                  <a:pt x="7181852" y="1143000"/>
                </a:cubicBezTo>
                <a:cubicBezTo>
                  <a:pt x="6322221" y="1016794"/>
                  <a:pt x="6432353" y="456605"/>
                  <a:pt x="6684468" y="45095"/>
                </a:cubicBezTo>
                <a:close/>
              </a:path>
            </a:pathLst>
          </a:custGeom>
          <a:gradFill flip="none" rotWithShape="1">
            <a:gsLst>
              <a:gs pos="90000">
                <a:schemeClr val="accent2"/>
              </a:gs>
              <a:gs pos="37000">
                <a:schemeClr val="accent3"/>
              </a:gs>
              <a:gs pos="0">
                <a:schemeClr val="accent3">
                  <a:lumMod val="50000"/>
                </a:schemeClr>
              </a:gs>
              <a:gs pos="100000">
                <a:schemeClr val="accent2">
                  <a:lumMod val="50000"/>
                </a:schemeClr>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Content Left">
            <a:extLst>
              <a:ext uri="{FF2B5EF4-FFF2-40B4-BE49-F238E27FC236}">
                <a16:creationId xmlns:a16="http://schemas.microsoft.com/office/drawing/2014/main" id="{91FED144-706E-40BF-05AD-D824465899F7}"/>
              </a:ext>
            </a:extLst>
          </p:cNvPr>
          <p:cNvSpPr>
            <a:spLocks noGrp="1"/>
          </p:cNvSpPr>
          <p:nvPr>
            <p:ph type="body" sz="quarter" idx="10"/>
          </p:nvPr>
        </p:nvSpPr>
        <p:spPr>
          <a:xfrm>
            <a:off x="1776000" y="4497021"/>
            <a:ext cx="3860800" cy="1466293"/>
          </a:xfrm>
          <a:prstGeom prst="rect">
            <a:avLst/>
          </a:prstGeom>
        </p:spPr>
        <p:txBody>
          <a:bodyPr/>
          <a:lstStyle>
            <a:lvl1pPr>
              <a:spcBef>
                <a:spcPts val="200"/>
              </a:spcBef>
              <a:spcAft>
                <a:spcPts val="200"/>
              </a:spcAft>
              <a:defRPr sz="1800" baseline="0">
                <a:solidFill>
                  <a:schemeClr val="tx1"/>
                </a:solidFill>
                <a:latin typeface="+mn-lt"/>
                <a:ea typeface="+mn-ea"/>
                <a:cs typeface="+mn-cs"/>
              </a:defRPr>
            </a:lvl1pPr>
            <a:lvl2pPr>
              <a:spcBef>
                <a:spcPts val="200"/>
              </a:spcBef>
              <a:spcAft>
                <a:spcPts val="200"/>
              </a:spcAft>
              <a:buClr>
                <a:schemeClr val="tx1"/>
              </a:buClr>
              <a:defRPr sz="1800" baseline="0">
                <a:solidFill>
                  <a:schemeClr val="tx1"/>
                </a:solidFill>
                <a:latin typeface="+mn-lt"/>
                <a:ea typeface="+mn-ea"/>
                <a:cs typeface="+mn-cs"/>
              </a:defRPr>
            </a:lvl2pPr>
            <a:lvl3pPr>
              <a:spcBef>
                <a:spcPts val="200"/>
              </a:spcBef>
              <a:spcAft>
                <a:spcPts val="200"/>
              </a:spcAft>
              <a:defRPr sz="1800" baseline="0">
                <a:solidFill>
                  <a:schemeClr val="tx1"/>
                </a:solidFill>
                <a:latin typeface="+mn-lt"/>
                <a:ea typeface="+mn-ea"/>
                <a:cs typeface="+mn-cs"/>
              </a:defRPr>
            </a:lvl3pPr>
            <a:lvl4pPr>
              <a:spcBef>
                <a:spcPts val="200"/>
              </a:spcBef>
              <a:spcAft>
                <a:spcPts val="200"/>
              </a:spcAft>
              <a:defRPr sz="1800" baseline="0">
                <a:solidFill>
                  <a:schemeClr val="tx1"/>
                </a:solidFill>
                <a:latin typeface="+mn-lt"/>
                <a:ea typeface="+mn-ea"/>
                <a:cs typeface="+mn-cs"/>
              </a:defRPr>
            </a:lvl4pPr>
            <a:lvl5pPr>
              <a:spcBef>
                <a:spcPts val="600"/>
              </a:spcBef>
              <a:spcAft>
                <a:spcPts val="200"/>
              </a:spcAft>
              <a:defRPr sz="1800" baseline="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3" name="Content Right">
            <a:extLst>
              <a:ext uri="{FF2B5EF4-FFF2-40B4-BE49-F238E27FC236}">
                <a16:creationId xmlns:a16="http://schemas.microsoft.com/office/drawing/2014/main" id="{47D136EB-E265-B02D-31FA-D2556BEE9F6A}"/>
              </a:ext>
            </a:extLst>
          </p:cNvPr>
          <p:cNvSpPr>
            <a:spLocks noGrp="1"/>
          </p:cNvSpPr>
          <p:nvPr>
            <p:ph type="body" sz="quarter" idx="15"/>
          </p:nvPr>
        </p:nvSpPr>
        <p:spPr>
          <a:xfrm>
            <a:off x="6555200" y="4497021"/>
            <a:ext cx="3860800" cy="1466293"/>
          </a:xfrm>
          <a:prstGeom prst="rect">
            <a:avLst/>
          </a:prstGeom>
        </p:spPr>
        <p:txBody>
          <a:bodyPr/>
          <a:lstStyle>
            <a:lvl1pPr>
              <a:spcBef>
                <a:spcPts val="200"/>
              </a:spcBef>
              <a:spcAft>
                <a:spcPts val="200"/>
              </a:spcAft>
              <a:defRPr sz="1800" baseline="0">
                <a:solidFill>
                  <a:schemeClr val="tx1"/>
                </a:solidFill>
                <a:latin typeface="+mn-lt"/>
                <a:ea typeface="+mn-ea"/>
                <a:cs typeface="+mn-cs"/>
              </a:defRPr>
            </a:lvl1pPr>
            <a:lvl2pPr>
              <a:spcBef>
                <a:spcPts val="200"/>
              </a:spcBef>
              <a:spcAft>
                <a:spcPts val="200"/>
              </a:spcAft>
              <a:buClr>
                <a:schemeClr val="tx1"/>
              </a:buClr>
              <a:defRPr sz="1800" baseline="0">
                <a:solidFill>
                  <a:schemeClr val="tx1"/>
                </a:solidFill>
                <a:latin typeface="+mn-lt"/>
                <a:ea typeface="+mn-ea"/>
                <a:cs typeface="+mn-cs"/>
              </a:defRPr>
            </a:lvl2pPr>
            <a:lvl3pPr>
              <a:spcBef>
                <a:spcPts val="200"/>
              </a:spcBef>
              <a:spcAft>
                <a:spcPts val="200"/>
              </a:spcAft>
              <a:defRPr sz="1800" baseline="0">
                <a:solidFill>
                  <a:schemeClr val="tx1"/>
                </a:solidFill>
                <a:latin typeface="+mn-lt"/>
                <a:ea typeface="+mn-ea"/>
                <a:cs typeface="+mn-cs"/>
              </a:defRPr>
            </a:lvl3pPr>
            <a:lvl4pPr>
              <a:spcBef>
                <a:spcPts val="200"/>
              </a:spcBef>
              <a:spcAft>
                <a:spcPts val="200"/>
              </a:spcAft>
              <a:defRPr sz="1800" baseline="0">
                <a:solidFill>
                  <a:schemeClr val="tx1"/>
                </a:solidFill>
                <a:latin typeface="+mn-lt"/>
                <a:ea typeface="+mn-ea"/>
                <a:cs typeface="+mn-cs"/>
              </a:defRPr>
            </a:lvl4pPr>
            <a:lvl5pPr>
              <a:spcBef>
                <a:spcPts val="600"/>
              </a:spcBef>
              <a:spcAft>
                <a:spcPts val="200"/>
              </a:spcAft>
              <a:defRPr sz="1800" baseline="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lus Content">
            <a:extLst>
              <a:ext uri="{FF2B5EF4-FFF2-40B4-BE49-F238E27FC236}">
                <a16:creationId xmlns:a16="http://schemas.microsoft.com/office/drawing/2014/main" id="{4B1FFFD7-DD5D-2FB2-1E99-087C94150B4E}"/>
              </a:ext>
            </a:extLst>
          </p:cNvPr>
          <p:cNvSpPr>
            <a:spLocks noGrp="1"/>
          </p:cNvSpPr>
          <p:nvPr>
            <p:ph type="body" sz="quarter" idx="20" hasCustomPrompt="1"/>
          </p:nvPr>
        </p:nvSpPr>
        <p:spPr>
          <a:xfrm>
            <a:off x="1776000" y="2662992"/>
            <a:ext cx="8639999" cy="1321965"/>
          </a:xfrm>
        </p:spPr>
        <p:txBody>
          <a:bodyPr anchor="ctr">
            <a:spAutoFit/>
          </a:bodyPr>
          <a:lstStyle>
            <a:lvl1pPr algn="ctr">
              <a:lnSpc>
                <a:spcPct val="105000"/>
              </a:lnSpc>
              <a:spcBef>
                <a:spcPts val="1200"/>
              </a:spcBef>
              <a:spcAft>
                <a:spcPct val="0"/>
              </a:spcAft>
              <a:defRPr sz="8800">
                <a:solidFill>
                  <a:schemeClr val="tx1"/>
                </a:solidFill>
                <a:latin typeface="+mj-lt"/>
              </a:defRPr>
            </a:lvl1pPr>
            <a:lvl2pPr marL="0" indent="0" algn="ctr">
              <a:lnSpc>
                <a:spcPct val="105000"/>
              </a:lnSpc>
              <a:buFontTx/>
              <a:buNone/>
              <a:defRPr sz="8800">
                <a:solidFill>
                  <a:schemeClr val="accent1"/>
                </a:solidFill>
                <a:latin typeface="+mj-lt"/>
              </a:defRPr>
            </a:lvl2pPr>
            <a:lvl3pPr marL="0" indent="0" algn="ctr">
              <a:spcBef>
                <a:spcPts val="1200"/>
              </a:spcBef>
              <a:spcAft>
                <a:spcPct val="0"/>
              </a:spcAft>
              <a:buFontTx/>
              <a:buNone/>
              <a:defRPr sz="4600">
                <a:solidFill>
                  <a:schemeClr val="tx1"/>
                </a:solidFill>
                <a:latin typeface="+mj-lt"/>
              </a:defRPr>
            </a:lvl3pPr>
            <a:lvl4pPr marL="0" indent="0" algn="ctr">
              <a:spcBef>
                <a:spcPts val="1200"/>
              </a:spcBef>
              <a:buClr>
                <a:schemeClr val="tx2"/>
              </a:buClr>
              <a:buFontTx/>
              <a:buNone/>
              <a:defRPr sz="4600">
                <a:solidFill>
                  <a:schemeClr val="accent1"/>
                </a:solidFill>
                <a:latin typeface="+mj-lt"/>
              </a:defRPr>
            </a:lvl4pPr>
            <a:lvl5pPr marL="0" indent="0" algn="l">
              <a:spcBef>
                <a:spcPts val="1200"/>
              </a:spcBef>
              <a:spcAft>
                <a:spcPct val="0"/>
              </a:spcAft>
              <a:buClr>
                <a:schemeClr val="tx2"/>
              </a:buClr>
              <a:buFontTx/>
              <a:buNone/>
              <a:defRPr sz="1800" b="0">
                <a:solidFill>
                  <a:schemeClr val="tx1"/>
                </a:solidFill>
                <a:latin typeface="+mn-lt"/>
              </a:defRPr>
            </a:lvl5pPr>
            <a:lvl6pPr marL="0" indent="0" algn="l">
              <a:spcBef>
                <a:spcPts val="1200"/>
              </a:spcBef>
              <a:spcAft>
                <a:spcPct val="0"/>
              </a:spcAft>
              <a:buFontTx/>
              <a:buNone/>
              <a:defRPr sz="1800" b="0" baseline="0">
                <a:solidFill>
                  <a:schemeClr val="accent1"/>
                </a:solidFill>
                <a:latin typeface="+mn-lt"/>
              </a:defRPr>
            </a:lvl6pPr>
            <a:lvl7pPr marL="0" indent="0" algn="ctr">
              <a:spcBef>
                <a:spcPts val="1200"/>
              </a:spcBef>
              <a:buFontTx/>
              <a:buNone/>
              <a:defRPr sz="1800">
                <a:solidFill>
                  <a:schemeClr val="tx1"/>
                </a:solidFill>
                <a:latin typeface="+mn-lt"/>
              </a:defRPr>
            </a:lvl7pPr>
            <a:lvl8pPr marL="0" indent="0" algn="ctr">
              <a:spcBef>
                <a:spcPts val="1200"/>
              </a:spcBef>
              <a:buFontTx/>
              <a:buNone/>
              <a:defRPr sz="1800">
                <a:solidFill>
                  <a:schemeClr val="accent1"/>
                </a:solidFill>
                <a:latin typeface="+mn-lt"/>
              </a:defRPr>
            </a:lvl8pPr>
            <a:lvl9pPr algn="ctr">
              <a:defRPr>
                <a:solidFill>
                  <a:schemeClr val="accent1"/>
                </a:solidFill>
              </a:defRPr>
            </a:lvl9pPr>
          </a:lstStyle>
          <a:p>
            <a:pPr lvl="0"/>
            <a:r>
              <a:rPr lang="en-GB"/>
              <a:t>Headline/Quote</a:t>
            </a:r>
          </a:p>
        </p:txBody>
      </p:sp>
    </p:spTree>
    <p:extLst>
      <p:ext uri="{BB962C8B-B14F-4D97-AF65-F5344CB8AC3E}">
        <p14:creationId xmlns:p14="http://schemas.microsoft.com/office/powerpoint/2010/main" val="6956057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776338"/>
      </p:ext>
    </p:extLst>
  </p:cSld>
  <p:clrMapOvr>
    <a:masterClrMapping/>
  </p:clrMapOvr>
  <p:transition/>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lank LIght Blue">
    <p:bg>
      <p:bgPr>
        <a:solidFill>
          <a:srgbClr val="EDFC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382911"/>
      </p:ext>
    </p:extLst>
  </p:cSld>
  <p:clrMapOvr>
    <a:masterClrMapping/>
  </p:clrMapOvr>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Blank Blue">
    <p:bg>
      <p:bgPr>
        <a:solidFill>
          <a:schemeClr val="accent1"/>
        </a:solidFill>
        <a:effectLst/>
      </p:bgPr>
    </p:bg>
    <p:spTree>
      <p:nvGrpSpPr>
        <p:cNvPr id="1" name=""/>
        <p:cNvGrpSpPr/>
        <p:nvPr/>
      </p:nvGrpSpPr>
      <p:grpSpPr>
        <a:xfrm>
          <a:off x="0" y="0"/>
          <a:ext cx="0" cy="0"/>
          <a:chOff x="0" y="0"/>
          <a:chExt cx="0" cy="0"/>
        </a:xfrm>
      </p:grpSpPr>
      <p:sp>
        <p:nvSpPr>
          <p:cNvPr id="2" name="Page Number">
            <a:extLst>
              <a:ext uri="{FF2B5EF4-FFF2-40B4-BE49-F238E27FC236}">
                <a16:creationId xmlns:a16="http://schemas.microsoft.com/office/drawing/2014/main" id="{14714A40-A869-BCD1-091E-69FC8C5C546A}"/>
              </a:ext>
            </a:extLst>
          </p:cNvPr>
          <p:cNvSpPr txBox="1"/>
          <p:nvPr/>
        </p:nvSpPr>
        <p:spPr>
          <a:xfrm>
            <a:off x="11233601" y="6525344"/>
            <a:ext cx="406400" cy="141577"/>
          </a:xfrm>
          <a:prstGeom prst="rect">
            <a:avLst/>
          </a:prstGeom>
          <a:noFill/>
        </p:spPr>
        <p:txBody>
          <a:bodyPr vert="horz" wrap="square" lIns="0" tIns="0" rIns="0" bIns="0" rtlCol="0">
            <a:noAutofit/>
          </a:bodyPr>
          <a:lstStyle/>
          <a:p>
            <a:pPr algn="r">
              <a:lnSpc>
                <a:spcPct val="100000"/>
              </a:lnSpc>
              <a:spcAft>
                <a:spcPct val="0"/>
              </a:spcAft>
            </a:pPr>
            <a:fld id="{28EFE765-FF9D-4A30-9EA2-0EADEF4E4456}" type="slidenum">
              <a:rPr lang="en-GB" sz="900" kern="1200" baseline="0">
                <a:solidFill>
                  <a:schemeClr val="bg1"/>
                </a:solidFill>
                <a:latin typeface="+mn-lt"/>
                <a:ea typeface="+mn-ea"/>
                <a:cs typeface="+mn-cs"/>
              </a:rPr>
              <a:pPr algn="r">
                <a:lnSpc>
                  <a:spcPct val="100000"/>
                </a:lnSpc>
                <a:spcAft>
                  <a:spcPct val="0"/>
                </a:spcAft>
              </a:pPr>
              <a:t>‹#›</a:t>
            </a:fld>
            <a:endParaRPr lang="en-GB" sz="900" kern="1200" baseline="0">
              <a:solidFill>
                <a:schemeClr val="bg1"/>
              </a:solidFill>
              <a:latin typeface="+mn-lt"/>
              <a:ea typeface="+mn-ea"/>
              <a:cs typeface="+mn-cs"/>
            </a:endParaRPr>
          </a:p>
        </p:txBody>
      </p:sp>
    </p:spTree>
    <p:extLst>
      <p:ext uri="{BB962C8B-B14F-4D97-AF65-F5344CB8AC3E}">
        <p14:creationId xmlns:p14="http://schemas.microsoft.com/office/powerpoint/2010/main" val="1577519827"/>
      </p:ext>
    </p:extLst>
  </p:cSld>
  <p:clrMapOvr>
    <a:masterClrMapping/>
  </p:clrMapOvr>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Logo">
    <p:bg>
      <p:bgRef idx="1001">
        <a:schemeClr val="bg2"/>
      </p:bgRef>
    </p:bg>
    <p:spTree>
      <p:nvGrpSpPr>
        <p:cNvPr id="1" name=""/>
        <p:cNvGrpSpPr/>
        <p:nvPr/>
      </p:nvGrpSpPr>
      <p:grpSpPr>
        <a:xfrm>
          <a:off x="0" y="0"/>
          <a:ext cx="0" cy="0"/>
          <a:chOff x="0" y="0"/>
          <a:chExt cx="0" cy="0"/>
        </a:xfrm>
      </p:grpSpPr>
      <p:sp>
        <p:nvSpPr>
          <p:cNvPr id="2" name="Squiggle">
            <a:extLst>
              <a:ext uri="{FF2B5EF4-FFF2-40B4-BE49-F238E27FC236}">
                <a16:creationId xmlns:a16="http://schemas.microsoft.com/office/drawing/2014/main" id="{5E6E4728-D40D-35DA-66B0-22FC4E6E8CDE}"/>
              </a:ext>
            </a:extLst>
          </p:cNvPr>
          <p:cNvSpPr/>
          <p:nvPr/>
        </p:nvSpPr>
        <p:spPr>
          <a:xfrm rot="4430537">
            <a:off x="2406828" y="-2403022"/>
            <a:ext cx="7944708" cy="13618868"/>
          </a:xfrm>
          <a:custGeom>
            <a:avLst/>
            <a:gdLst>
              <a:gd name="connsiteX0" fmla="*/ 0 w 7944708"/>
              <a:gd name="connsiteY0" fmla="*/ 4685805 h 13618868"/>
              <a:gd name="connsiteX1" fmla="*/ 1357604 w 7944708"/>
              <a:gd name="connsiteY1" fmla="*/ 0 h 13618868"/>
              <a:gd name="connsiteX2" fmla="*/ 4049990 w 7944708"/>
              <a:gd name="connsiteY2" fmla="*/ 780056 h 13618868"/>
              <a:gd name="connsiteX3" fmla="*/ 4162100 w 7944708"/>
              <a:gd name="connsiteY3" fmla="*/ 1058737 h 13618868"/>
              <a:gd name="connsiteX4" fmla="*/ 6321097 w 7944708"/>
              <a:gd name="connsiteY4" fmla="*/ 5355046 h 13618868"/>
              <a:gd name="connsiteX5" fmla="*/ 5623247 w 7944708"/>
              <a:gd name="connsiteY5" fmla="*/ 1545335 h 13618868"/>
              <a:gd name="connsiteX6" fmla="*/ 5602778 w 7944708"/>
              <a:gd name="connsiteY6" fmla="*/ 1229940 h 13618868"/>
              <a:gd name="connsiteX7" fmla="*/ 7944708 w 7944708"/>
              <a:gd name="connsiteY7" fmla="*/ 1908460 h 13618868"/>
              <a:gd name="connsiteX8" fmla="*/ 5453795 w 7944708"/>
              <a:gd name="connsiteY8" fmla="*/ 10505918 h 13618868"/>
              <a:gd name="connsiteX9" fmla="*/ 5088659 w 7944708"/>
              <a:gd name="connsiteY9" fmla="*/ 9925772 h 13618868"/>
              <a:gd name="connsiteX10" fmla="*/ 2348310 w 7944708"/>
              <a:gd name="connsiteY10" fmla="*/ 4969698 h 13618868"/>
              <a:gd name="connsiteX11" fmla="*/ 4916023 w 7944708"/>
              <a:gd name="connsiteY11" fmla="*/ 12050905 h 13618868"/>
              <a:gd name="connsiteX12" fmla="*/ 4969351 w 7944708"/>
              <a:gd name="connsiteY12" fmla="*/ 12177989 h 13618868"/>
              <a:gd name="connsiteX13" fmla="*/ 4551890 w 7944708"/>
              <a:gd name="connsiteY13" fmla="*/ 13618868 h 13618868"/>
              <a:gd name="connsiteX14" fmla="*/ 2127054 w 7944708"/>
              <a:gd name="connsiteY14" fmla="*/ 12916328 h 13618868"/>
              <a:gd name="connsiteX15" fmla="*/ 2070213 w 7944708"/>
              <a:gd name="connsiteY15" fmla="*/ 12724059 h 13618868"/>
              <a:gd name="connsiteX16" fmla="*/ 7671 w 7944708"/>
              <a:gd name="connsiteY16" fmla="*/ 4718907 h 13618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44707" h="13618868">
                <a:moveTo>
                  <a:pt x="0" y="4685805"/>
                </a:moveTo>
                <a:lnTo>
                  <a:pt x="1357604" y="0"/>
                </a:lnTo>
                <a:lnTo>
                  <a:pt x="4049990" y="780056"/>
                </a:lnTo>
                <a:lnTo>
                  <a:pt x="4162100" y="1058737"/>
                </a:lnTo>
                <a:cubicBezTo>
                  <a:pt x="4806345" y="2617724"/>
                  <a:pt x="5521223" y="4153526"/>
                  <a:pt x="6321097" y="5355046"/>
                </a:cubicBezTo>
                <a:cubicBezTo>
                  <a:pt x="6072429" y="4057350"/>
                  <a:pt x="5720718" y="2665455"/>
                  <a:pt x="5623247" y="1545335"/>
                </a:cubicBezTo>
                <a:lnTo>
                  <a:pt x="5602778" y="1229940"/>
                </a:lnTo>
                <a:lnTo>
                  <a:pt x="7944708" y="1908460"/>
                </a:lnTo>
                <a:lnTo>
                  <a:pt x="5453795" y="10505918"/>
                </a:lnTo>
                <a:lnTo>
                  <a:pt x="5088659" y="9925772"/>
                </a:lnTo>
                <a:cubicBezTo>
                  <a:pt x="4087604" y="8295081"/>
                  <a:pt x="3029733" y="6270664"/>
                  <a:pt x="2348310" y="4969698"/>
                </a:cubicBezTo>
                <a:cubicBezTo>
                  <a:pt x="2113685" y="4521756"/>
                  <a:pt x="3783862" y="9322882"/>
                  <a:pt x="4916023" y="12050905"/>
                </a:cubicBezTo>
                <a:lnTo>
                  <a:pt x="4969351" y="12177989"/>
                </a:lnTo>
                <a:lnTo>
                  <a:pt x="4551890" y="13618868"/>
                </a:lnTo>
                <a:lnTo>
                  <a:pt x="2127054" y="12916328"/>
                </a:lnTo>
                <a:lnTo>
                  <a:pt x="2070213" y="12724059"/>
                </a:lnTo>
                <a:cubicBezTo>
                  <a:pt x="1303556" y="10084950"/>
                  <a:pt x="552023" y="7053271"/>
                  <a:pt x="7671" y="4718907"/>
                </a:cubicBezTo>
                <a:close/>
              </a:path>
            </a:pathLst>
          </a:custGeom>
          <a:gradFill>
            <a:gsLst>
              <a:gs pos="0">
                <a:srgbClr val="00316C"/>
              </a:gs>
              <a:gs pos="15000">
                <a:srgbClr val="01326E"/>
              </a:gs>
              <a:gs pos="30000">
                <a:srgbClr val="063878"/>
              </a:gs>
              <a:gs pos="78000">
                <a:srgbClr val="0F4287"/>
              </a:gs>
            </a:gsLst>
            <a:lin ang="15000009" scaled="1"/>
          </a:gradFill>
          <a:ln w="15187" cap="flat">
            <a:noFill/>
            <a:prstDash val="solid"/>
            <a:miter/>
          </a:ln>
        </p:spPr>
        <p:txBody>
          <a:bodyPr rtlCol="0" anchor="ctr"/>
          <a:lstStyle/>
          <a:p>
            <a:endParaRPr lang="en-US"/>
          </a:p>
        </p:txBody>
      </p:sp>
      <p:sp>
        <p:nvSpPr>
          <p:cNvPr id="5" name="Logo">
            <a:extLst>
              <a:ext uri="{FF2B5EF4-FFF2-40B4-BE49-F238E27FC236}">
                <a16:creationId xmlns:a16="http://schemas.microsoft.com/office/drawing/2014/main" id="{C1A5A066-7C32-E9BB-5006-1E1E179DF5DD}"/>
              </a:ext>
            </a:extLst>
          </p:cNvPr>
          <p:cNvSpPr/>
          <p:nvPr/>
        </p:nvSpPr>
        <p:spPr bwMode="black">
          <a:xfrm>
            <a:off x="4368800" y="2961927"/>
            <a:ext cx="3454400" cy="934146"/>
          </a:xfrm>
          <a:custGeom>
            <a:avLst/>
            <a:gdLst>
              <a:gd name="connsiteX0" fmla="*/ 6897053 w 7750397"/>
              <a:gd name="connsiteY0" fmla="*/ 282131 h 2095880"/>
              <a:gd name="connsiteX1" fmla="*/ 6921151 w 7750397"/>
              <a:gd name="connsiteY1" fmla="*/ 306229 h 2095880"/>
              <a:gd name="connsiteX2" fmla="*/ 6921151 w 7750397"/>
              <a:gd name="connsiteY2" fmla="*/ 709708 h 2095880"/>
              <a:gd name="connsiteX3" fmla="*/ 6897053 w 7750397"/>
              <a:gd name="connsiteY3" fmla="*/ 733806 h 2095880"/>
              <a:gd name="connsiteX4" fmla="*/ 6493574 w 7750397"/>
              <a:gd name="connsiteY4" fmla="*/ 733806 h 2095880"/>
              <a:gd name="connsiteX5" fmla="*/ 6469475 w 7750397"/>
              <a:gd name="connsiteY5" fmla="*/ 709708 h 2095880"/>
              <a:gd name="connsiteX6" fmla="*/ 6469475 w 7750397"/>
              <a:gd name="connsiteY6" fmla="*/ 306229 h 2095880"/>
              <a:gd name="connsiteX7" fmla="*/ 6493574 w 7750397"/>
              <a:gd name="connsiteY7" fmla="*/ 282131 h 2095880"/>
              <a:gd name="connsiteX8" fmla="*/ 6897053 w 7750397"/>
              <a:gd name="connsiteY8" fmla="*/ 282131 h 2095880"/>
              <a:gd name="connsiteX9" fmla="*/ 7040594 w 7750397"/>
              <a:gd name="connsiteY9" fmla="*/ 829342 h 2095880"/>
              <a:gd name="connsiteX10" fmla="*/ 7016497 w 7750397"/>
              <a:gd name="connsiteY10" fmla="*/ 853345 h 2095880"/>
              <a:gd name="connsiteX11" fmla="*/ 7016497 w 7750397"/>
              <a:gd name="connsiteY11" fmla="*/ 1256919 h 2095880"/>
              <a:gd name="connsiteX12" fmla="*/ 7040594 w 7750397"/>
              <a:gd name="connsiteY12" fmla="*/ 1281017 h 2095880"/>
              <a:gd name="connsiteX13" fmla="*/ 7444073 w 7750397"/>
              <a:gd name="connsiteY13" fmla="*/ 1281017 h 2095880"/>
              <a:gd name="connsiteX14" fmla="*/ 7468077 w 7750397"/>
              <a:gd name="connsiteY14" fmla="*/ 1256919 h 2095880"/>
              <a:gd name="connsiteX15" fmla="*/ 7468077 w 7750397"/>
              <a:gd name="connsiteY15" fmla="*/ 853345 h 2095880"/>
              <a:gd name="connsiteX16" fmla="*/ 7444073 w 7750397"/>
              <a:gd name="connsiteY16" fmla="*/ 829342 h 2095880"/>
              <a:gd name="connsiteX17" fmla="*/ 7040594 w 7750397"/>
              <a:gd name="connsiteY17" fmla="*/ 829342 h 2095880"/>
              <a:gd name="connsiteX18" fmla="*/ 7750398 w 7750397"/>
              <a:gd name="connsiteY18" fmla="*/ 366998 h 2095880"/>
              <a:gd name="connsiteX19" fmla="*/ 7383304 w 7750397"/>
              <a:gd name="connsiteY19" fmla="*/ 0 h 2095880"/>
              <a:gd name="connsiteX20" fmla="*/ 7040309 w 7750397"/>
              <a:gd name="connsiteY20" fmla="*/ 0 h 2095880"/>
              <a:gd name="connsiteX21" fmla="*/ 7016211 w 7750397"/>
              <a:gd name="connsiteY21" fmla="*/ 24098 h 2095880"/>
              <a:gd name="connsiteX22" fmla="*/ 7016401 w 7750397"/>
              <a:gd name="connsiteY22" fmla="*/ 709708 h 2095880"/>
              <a:gd name="connsiteX23" fmla="*/ 7040499 w 7750397"/>
              <a:gd name="connsiteY23" fmla="*/ 733806 h 2095880"/>
              <a:gd name="connsiteX24" fmla="*/ 7726299 w 7750397"/>
              <a:gd name="connsiteY24" fmla="*/ 733806 h 2095880"/>
              <a:gd name="connsiteX25" fmla="*/ 7750398 w 7750397"/>
              <a:gd name="connsiteY25" fmla="*/ 709708 h 2095880"/>
              <a:gd name="connsiteX26" fmla="*/ 7750398 w 7750397"/>
              <a:gd name="connsiteY26" fmla="*/ 366998 h 2095880"/>
              <a:gd name="connsiteX27" fmla="*/ 6719602 w 7750397"/>
              <a:gd name="connsiteY27" fmla="*/ 829437 h 2095880"/>
              <a:gd name="connsiteX28" fmla="*/ 6695599 w 7750397"/>
              <a:gd name="connsiteY28" fmla="*/ 853440 h 2095880"/>
              <a:gd name="connsiteX29" fmla="*/ 6695599 w 7750397"/>
              <a:gd name="connsiteY29" fmla="*/ 1031177 h 2095880"/>
              <a:gd name="connsiteX30" fmla="*/ 6719602 w 7750397"/>
              <a:gd name="connsiteY30" fmla="*/ 1055275 h 2095880"/>
              <a:gd name="connsiteX31" fmla="*/ 6896957 w 7750397"/>
              <a:gd name="connsiteY31" fmla="*/ 1055275 h 2095880"/>
              <a:gd name="connsiteX32" fmla="*/ 6921056 w 7750397"/>
              <a:gd name="connsiteY32" fmla="*/ 1031272 h 2095880"/>
              <a:gd name="connsiteX33" fmla="*/ 6921056 w 7750397"/>
              <a:gd name="connsiteY33" fmla="*/ 853440 h 2095880"/>
              <a:gd name="connsiteX34" fmla="*/ 6896957 w 7750397"/>
              <a:gd name="connsiteY34" fmla="*/ 829437 h 2095880"/>
              <a:gd name="connsiteX35" fmla="*/ 6719602 w 7750397"/>
              <a:gd name="connsiteY35" fmla="*/ 829437 h 2095880"/>
              <a:gd name="connsiteX36" fmla="*/ 1851660 w 7750397"/>
              <a:gd name="connsiteY36" fmla="*/ 1069181 h 2095880"/>
              <a:gd name="connsiteX37" fmla="*/ 1712595 w 7750397"/>
              <a:gd name="connsiteY37" fmla="*/ 1099566 h 2095880"/>
              <a:gd name="connsiteX38" fmla="*/ 1599057 w 7750397"/>
              <a:gd name="connsiteY38" fmla="*/ 1194721 h 2095880"/>
              <a:gd name="connsiteX39" fmla="*/ 1508189 w 7750397"/>
              <a:gd name="connsiteY39" fmla="*/ 1100233 h 2095880"/>
              <a:gd name="connsiteX40" fmla="*/ 1387126 w 7750397"/>
              <a:gd name="connsiteY40" fmla="*/ 1070515 h 2095880"/>
              <a:gd name="connsiteX41" fmla="*/ 1251299 w 7750397"/>
              <a:gd name="connsiteY41" fmla="*/ 1100900 h 2095880"/>
              <a:gd name="connsiteX42" fmla="*/ 1145000 w 7750397"/>
              <a:gd name="connsiteY42" fmla="*/ 1194816 h 2095880"/>
              <a:gd name="connsiteX43" fmla="*/ 1145000 w 7750397"/>
              <a:gd name="connsiteY43" fmla="*/ 1089755 h 2095880"/>
              <a:gd name="connsiteX44" fmla="*/ 887159 w 7750397"/>
              <a:gd name="connsiteY44" fmla="*/ 1089755 h 2095880"/>
              <a:gd name="connsiteX45" fmla="*/ 887159 w 7750397"/>
              <a:gd name="connsiteY45" fmla="*/ 1808512 h 2095880"/>
              <a:gd name="connsiteX46" fmla="*/ 1166717 w 7750397"/>
              <a:gd name="connsiteY46" fmla="*/ 1808512 h 2095880"/>
              <a:gd name="connsiteX47" fmla="*/ 1166717 w 7750397"/>
              <a:gd name="connsiteY47" fmla="*/ 1422368 h 2095880"/>
              <a:gd name="connsiteX48" fmla="*/ 1191292 w 7750397"/>
              <a:gd name="connsiteY48" fmla="*/ 1327785 h 2095880"/>
              <a:gd name="connsiteX49" fmla="*/ 1263110 w 7750397"/>
              <a:gd name="connsiteY49" fmla="*/ 1295400 h 2095880"/>
              <a:gd name="connsiteX50" fmla="*/ 1339501 w 7750397"/>
              <a:gd name="connsiteY50" fmla="*/ 1327499 h 2095880"/>
              <a:gd name="connsiteX51" fmla="*/ 1362837 w 7750397"/>
              <a:gd name="connsiteY51" fmla="*/ 1433608 h 2095880"/>
              <a:gd name="connsiteX52" fmla="*/ 1362837 w 7750397"/>
              <a:gd name="connsiteY52" fmla="*/ 1808512 h 2095880"/>
              <a:gd name="connsiteX53" fmla="*/ 1641062 w 7750397"/>
              <a:gd name="connsiteY53" fmla="*/ 1808512 h 2095880"/>
              <a:gd name="connsiteX54" fmla="*/ 1641062 w 7750397"/>
              <a:gd name="connsiteY54" fmla="*/ 1426369 h 2095880"/>
              <a:gd name="connsiteX55" fmla="*/ 1665351 w 7750397"/>
              <a:gd name="connsiteY55" fmla="*/ 1327214 h 2095880"/>
              <a:gd name="connsiteX56" fmla="*/ 1741456 w 7750397"/>
              <a:gd name="connsiteY56" fmla="*/ 1295400 h 2095880"/>
              <a:gd name="connsiteX57" fmla="*/ 1814608 w 7750397"/>
              <a:gd name="connsiteY57" fmla="*/ 1325880 h 2095880"/>
              <a:gd name="connsiteX58" fmla="*/ 1837277 w 7750397"/>
              <a:gd name="connsiteY58" fmla="*/ 1423702 h 2095880"/>
              <a:gd name="connsiteX59" fmla="*/ 1837277 w 7750397"/>
              <a:gd name="connsiteY59" fmla="*/ 1808512 h 2095880"/>
              <a:gd name="connsiteX60" fmla="*/ 2116741 w 7750397"/>
              <a:gd name="connsiteY60" fmla="*/ 1808512 h 2095880"/>
              <a:gd name="connsiteX61" fmla="*/ 2116741 w 7750397"/>
              <a:gd name="connsiteY61" fmla="*/ 1318546 h 2095880"/>
              <a:gd name="connsiteX62" fmla="*/ 2047208 w 7750397"/>
              <a:gd name="connsiteY62" fmla="*/ 1134713 h 2095880"/>
              <a:gd name="connsiteX63" fmla="*/ 1851660 w 7750397"/>
              <a:gd name="connsiteY63" fmla="*/ 1069277 h 2095880"/>
              <a:gd name="connsiteX64" fmla="*/ 411575 w 7750397"/>
              <a:gd name="connsiteY64" fmla="*/ 1066324 h 2095880"/>
              <a:gd name="connsiteX65" fmla="*/ 0 w 7750397"/>
              <a:gd name="connsiteY65" fmla="*/ 1456277 h 2095880"/>
              <a:gd name="connsiteX66" fmla="*/ 400717 w 7750397"/>
              <a:gd name="connsiteY66" fmla="*/ 1834134 h 2095880"/>
              <a:gd name="connsiteX67" fmla="*/ 796100 w 7750397"/>
              <a:gd name="connsiteY67" fmla="*/ 1596676 h 2095880"/>
              <a:gd name="connsiteX68" fmla="*/ 523494 w 7750397"/>
              <a:gd name="connsiteY68" fmla="*/ 1596676 h 2095880"/>
              <a:gd name="connsiteX69" fmla="*/ 416814 w 7750397"/>
              <a:gd name="connsiteY69" fmla="*/ 1656112 h 2095880"/>
              <a:gd name="connsiteX70" fmla="*/ 284607 w 7750397"/>
              <a:gd name="connsiteY70" fmla="*/ 1513046 h 2095880"/>
              <a:gd name="connsiteX71" fmla="*/ 818959 w 7750397"/>
              <a:gd name="connsiteY71" fmla="*/ 1513046 h 2095880"/>
              <a:gd name="connsiteX72" fmla="*/ 818959 w 7750397"/>
              <a:gd name="connsiteY72" fmla="*/ 1495520 h 2095880"/>
              <a:gd name="connsiteX73" fmla="*/ 411385 w 7750397"/>
              <a:gd name="connsiteY73" fmla="*/ 1066419 h 2095880"/>
              <a:gd name="connsiteX74" fmla="*/ 284797 w 7750397"/>
              <a:gd name="connsiteY74" fmla="*/ 1369885 h 2095880"/>
              <a:gd name="connsiteX75" fmla="*/ 408908 w 7750397"/>
              <a:gd name="connsiteY75" fmla="*/ 1236250 h 2095880"/>
              <a:gd name="connsiteX76" fmla="*/ 538448 w 7750397"/>
              <a:gd name="connsiteY76" fmla="*/ 1369885 h 2095880"/>
              <a:gd name="connsiteX77" fmla="*/ 284797 w 7750397"/>
              <a:gd name="connsiteY77" fmla="*/ 1369885 h 2095880"/>
              <a:gd name="connsiteX78" fmla="*/ 2702052 w 7750397"/>
              <a:gd name="connsiteY78" fmla="*/ 1072991 h 2095880"/>
              <a:gd name="connsiteX79" fmla="*/ 2470023 w 7750397"/>
              <a:gd name="connsiteY79" fmla="*/ 1183672 h 2095880"/>
              <a:gd name="connsiteX80" fmla="*/ 2470023 w 7750397"/>
              <a:gd name="connsiteY80" fmla="*/ 1091851 h 2095880"/>
              <a:gd name="connsiteX81" fmla="*/ 2217706 w 7750397"/>
              <a:gd name="connsiteY81" fmla="*/ 1091851 h 2095880"/>
              <a:gd name="connsiteX82" fmla="*/ 2217706 w 7750397"/>
              <a:gd name="connsiteY82" fmla="*/ 2095881 h 2095880"/>
              <a:gd name="connsiteX83" fmla="*/ 2494312 w 7750397"/>
              <a:gd name="connsiteY83" fmla="*/ 2095881 h 2095880"/>
              <a:gd name="connsiteX84" fmla="*/ 2494312 w 7750397"/>
              <a:gd name="connsiteY84" fmla="*/ 1740980 h 2095880"/>
              <a:gd name="connsiteX85" fmla="*/ 2696718 w 7750397"/>
              <a:gd name="connsiteY85" fmla="*/ 1832705 h 2095880"/>
              <a:gd name="connsiteX86" fmla="*/ 3013901 w 7750397"/>
              <a:gd name="connsiteY86" fmla="*/ 1452182 h 2095880"/>
              <a:gd name="connsiteX87" fmla="*/ 2702147 w 7750397"/>
              <a:gd name="connsiteY87" fmla="*/ 1072991 h 2095880"/>
              <a:gd name="connsiteX88" fmla="*/ 2611660 w 7750397"/>
              <a:gd name="connsiteY88" fmla="*/ 1614202 h 2095880"/>
              <a:gd name="connsiteX89" fmla="*/ 2494312 w 7750397"/>
              <a:gd name="connsiteY89" fmla="*/ 1452182 h 2095880"/>
              <a:gd name="connsiteX90" fmla="*/ 2614422 w 7750397"/>
              <a:gd name="connsiteY90" fmla="*/ 1286161 h 2095880"/>
              <a:gd name="connsiteX91" fmla="*/ 2729103 w 7750397"/>
              <a:gd name="connsiteY91" fmla="*/ 1452182 h 2095880"/>
              <a:gd name="connsiteX92" fmla="*/ 2611660 w 7750397"/>
              <a:gd name="connsiteY92" fmla="*/ 1614202 h 2095880"/>
              <a:gd name="connsiteX93" fmla="*/ 3458623 w 7750397"/>
              <a:gd name="connsiteY93" fmla="*/ 1066324 h 2095880"/>
              <a:gd name="connsiteX94" fmla="*/ 3053810 w 7750397"/>
              <a:gd name="connsiteY94" fmla="*/ 1449515 h 2095880"/>
              <a:gd name="connsiteX95" fmla="*/ 3458623 w 7750397"/>
              <a:gd name="connsiteY95" fmla="*/ 1834134 h 2095880"/>
              <a:gd name="connsiteX96" fmla="*/ 3863435 w 7750397"/>
              <a:gd name="connsiteY96" fmla="*/ 1449515 h 2095880"/>
              <a:gd name="connsiteX97" fmla="*/ 3458623 w 7750397"/>
              <a:gd name="connsiteY97" fmla="*/ 1066324 h 2095880"/>
              <a:gd name="connsiteX98" fmla="*/ 3458623 w 7750397"/>
              <a:gd name="connsiteY98" fmla="*/ 1635728 h 2095880"/>
              <a:gd name="connsiteX99" fmla="*/ 3341180 w 7750397"/>
              <a:gd name="connsiteY99" fmla="*/ 1449515 h 2095880"/>
              <a:gd name="connsiteX100" fmla="*/ 3458623 w 7750397"/>
              <a:gd name="connsiteY100" fmla="*/ 1264634 h 2095880"/>
              <a:gd name="connsiteX101" fmla="*/ 3577400 w 7750397"/>
              <a:gd name="connsiteY101" fmla="*/ 1449515 h 2095880"/>
              <a:gd name="connsiteX102" fmla="*/ 3458623 w 7750397"/>
              <a:gd name="connsiteY102" fmla="*/ 1635728 h 2095880"/>
              <a:gd name="connsiteX103" fmla="*/ 4805744 w 7750397"/>
              <a:gd name="connsiteY103" fmla="*/ 1091851 h 2095880"/>
              <a:gd name="connsiteX104" fmla="*/ 4699159 w 7750397"/>
              <a:gd name="connsiteY104" fmla="*/ 1529143 h 2095880"/>
              <a:gd name="connsiteX105" fmla="*/ 4588478 w 7750397"/>
              <a:gd name="connsiteY105" fmla="*/ 1091851 h 2095880"/>
              <a:gd name="connsiteX106" fmla="*/ 4348258 w 7750397"/>
              <a:gd name="connsiteY106" fmla="*/ 1091851 h 2095880"/>
              <a:gd name="connsiteX107" fmla="*/ 4237578 w 7750397"/>
              <a:gd name="connsiteY107" fmla="*/ 1529143 h 2095880"/>
              <a:gd name="connsiteX108" fmla="*/ 4130898 w 7750397"/>
              <a:gd name="connsiteY108" fmla="*/ 1091851 h 2095880"/>
              <a:gd name="connsiteX109" fmla="*/ 3848862 w 7750397"/>
              <a:gd name="connsiteY109" fmla="*/ 1091851 h 2095880"/>
              <a:gd name="connsiteX110" fmla="*/ 4085082 w 7750397"/>
              <a:gd name="connsiteY110" fmla="*/ 1808512 h 2095880"/>
              <a:gd name="connsiteX111" fmla="*/ 4364356 w 7750397"/>
              <a:gd name="connsiteY111" fmla="*/ 1808512 h 2095880"/>
              <a:gd name="connsiteX112" fmla="*/ 4468368 w 7750397"/>
              <a:gd name="connsiteY112" fmla="*/ 1394174 h 2095880"/>
              <a:gd name="connsiteX113" fmla="*/ 4572191 w 7750397"/>
              <a:gd name="connsiteY113" fmla="*/ 1808512 h 2095880"/>
              <a:gd name="connsiteX114" fmla="*/ 4851559 w 7750397"/>
              <a:gd name="connsiteY114" fmla="*/ 1808512 h 2095880"/>
              <a:gd name="connsiteX115" fmla="*/ 5076825 w 7750397"/>
              <a:gd name="connsiteY115" fmla="*/ 1091851 h 2095880"/>
              <a:gd name="connsiteX116" fmla="*/ 4805648 w 7750397"/>
              <a:gd name="connsiteY116" fmla="*/ 1091851 h 2095880"/>
              <a:gd name="connsiteX117" fmla="*/ 5476018 w 7750397"/>
              <a:gd name="connsiteY117" fmla="*/ 1066229 h 2095880"/>
              <a:gd name="connsiteX118" fmla="*/ 5064443 w 7750397"/>
              <a:gd name="connsiteY118" fmla="*/ 1456182 h 2095880"/>
              <a:gd name="connsiteX119" fmla="*/ 5465159 w 7750397"/>
              <a:gd name="connsiteY119" fmla="*/ 1834039 h 2095880"/>
              <a:gd name="connsiteX120" fmla="*/ 5860542 w 7750397"/>
              <a:gd name="connsiteY120" fmla="*/ 1596581 h 2095880"/>
              <a:gd name="connsiteX121" fmla="*/ 5587937 w 7750397"/>
              <a:gd name="connsiteY121" fmla="*/ 1596581 h 2095880"/>
              <a:gd name="connsiteX122" fmla="*/ 5481257 w 7750397"/>
              <a:gd name="connsiteY122" fmla="*/ 1656017 h 2095880"/>
              <a:gd name="connsiteX123" fmla="*/ 5349049 w 7750397"/>
              <a:gd name="connsiteY123" fmla="*/ 1512951 h 2095880"/>
              <a:gd name="connsiteX124" fmla="*/ 5883402 w 7750397"/>
              <a:gd name="connsiteY124" fmla="*/ 1512951 h 2095880"/>
              <a:gd name="connsiteX125" fmla="*/ 5883402 w 7750397"/>
              <a:gd name="connsiteY125" fmla="*/ 1495425 h 2095880"/>
              <a:gd name="connsiteX126" fmla="*/ 5475828 w 7750397"/>
              <a:gd name="connsiteY126" fmla="*/ 1066324 h 2095880"/>
              <a:gd name="connsiteX127" fmla="*/ 5349240 w 7750397"/>
              <a:gd name="connsiteY127" fmla="*/ 1369790 h 2095880"/>
              <a:gd name="connsiteX128" fmla="*/ 5473351 w 7750397"/>
              <a:gd name="connsiteY128" fmla="*/ 1236155 h 2095880"/>
              <a:gd name="connsiteX129" fmla="*/ 5602891 w 7750397"/>
              <a:gd name="connsiteY129" fmla="*/ 1369790 h 2095880"/>
              <a:gd name="connsiteX130" fmla="*/ 5349240 w 7750397"/>
              <a:gd name="connsiteY130" fmla="*/ 1369790 h 2095880"/>
              <a:gd name="connsiteX131" fmla="*/ 6443377 w 7750397"/>
              <a:gd name="connsiteY131" fmla="*/ 1072896 h 2095880"/>
              <a:gd name="connsiteX132" fmla="*/ 6220682 w 7750397"/>
              <a:gd name="connsiteY132" fmla="*/ 1222724 h 2095880"/>
              <a:gd name="connsiteX133" fmla="*/ 6220682 w 7750397"/>
              <a:gd name="connsiteY133" fmla="*/ 1091756 h 2095880"/>
              <a:gd name="connsiteX134" fmla="*/ 5957507 w 7750397"/>
              <a:gd name="connsiteY134" fmla="*/ 1091756 h 2095880"/>
              <a:gd name="connsiteX135" fmla="*/ 5957507 w 7750397"/>
              <a:gd name="connsiteY135" fmla="*/ 1808417 h 2095880"/>
              <a:gd name="connsiteX136" fmla="*/ 6243543 w 7750397"/>
              <a:gd name="connsiteY136" fmla="*/ 1808417 h 2095880"/>
              <a:gd name="connsiteX137" fmla="*/ 6243543 w 7750397"/>
              <a:gd name="connsiteY137" fmla="*/ 1514285 h 2095880"/>
              <a:gd name="connsiteX138" fmla="*/ 6410897 w 7750397"/>
              <a:gd name="connsiteY138" fmla="*/ 1353598 h 2095880"/>
              <a:gd name="connsiteX139" fmla="*/ 6468999 w 7750397"/>
              <a:gd name="connsiteY139" fmla="*/ 1357693 h 2095880"/>
              <a:gd name="connsiteX140" fmla="*/ 6468999 w 7750397"/>
              <a:gd name="connsiteY140" fmla="*/ 1072896 h 2095880"/>
              <a:gd name="connsiteX141" fmla="*/ 6443377 w 7750397"/>
              <a:gd name="connsiteY141" fmla="*/ 1072896 h 209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7750397" h="2095880">
                <a:moveTo>
                  <a:pt x="6897053" y="282131"/>
                </a:moveTo>
                <a:lnTo>
                  <a:pt x="6921151" y="306229"/>
                </a:lnTo>
                <a:lnTo>
                  <a:pt x="6921151" y="709708"/>
                </a:lnTo>
                <a:lnTo>
                  <a:pt x="6897053" y="733806"/>
                </a:lnTo>
                <a:lnTo>
                  <a:pt x="6493574" y="733806"/>
                </a:lnTo>
                <a:lnTo>
                  <a:pt x="6469475" y="709708"/>
                </a:lnTo>
                <a:lnTo>
                  <a:pt x="6469475" y="306229"/>
                </a:lnTo>
                <a:lnTo>
                  <a:pt x="6493574" y="282131"/>
                </a:lnTo>
                <a:lnTo>
                  <a:pt x="6897053" y="282131"/>
                </a:lnTo>
                <a:close/>
                <a:moveTo>
                  <a:pt x="7040594" y="829342"/>
                </a:moveTo>
                <a:lnTo>
                  <a:pt x="7016497" y="853345"/>
                </a:lnTo>
                <a:lnTo>
                  <a:pt x="7016497" y="1256919"/>
                </a:lnTo>
                <a:lnTo>
                  <a:pt x="7040594" y="1281017"/>
                </a:lnTo>
                <a:lnTo>
                  <a:pt x="7444073" y="1281017"/>
                </a:lnTo>
                <a:lnTo>
                  <a:pt x="7468077" y="1256919"/>
                </a:lnTo>
                <a:lnTo>
                  <a:pt x="7468077" y="853345"/>
                </a:lnTo>
                <a:lnTo>
                  <a:pt x="7444073" y="829342"/>
                </a:lnTo>
                <a:lnTo>
                  <a:pt x="7040594" y="829342"/>
                </a:lnTo>
                <a:close/>
                <a:moveTo>
                  <a:pt x="7750398" y="366998"/>
                </a:moveTo>
                <a:lnTo>
                  <a:pt x="7383304" y="0"/>
                </a:lnTo>
                <a:lnTo>
                  <a:pt x="7040309" y="0"/>
                </a:lnTo>
                <a:lnTo>
                  <a:pt x="7016211" y="24098"/>
                </a:lnTo>
                <a:lnTo>
                  <a:pt x="7016401" y="709708"/>
                </a:lnTo>
                <a:lnTo>
                  <a:pt x="7040499" y="733806"/>
                </a:lnTo>
                <a:lnTo>
                  <a:pt x="7726299" y="733806"/>
                </a:lnTo>
                <a:lnTo>
                  <a:pt x="7750398" y="709708"/>
                </a:lnTo>
                <a:lnTo>
                  <a:pt x="7750398" y="366998"/>
                </a:lnTo>
                <a:close/>
                <a:moveTo>
                  <a:pt x="6719602" y="829437"/>
                </a:moveTo>
                <a:lnTo>
                  <a:pt x="6695599" y="853440"/>
                </a:lnTo>
                <a:lnTo>
                  <a:pt x="6695599" y="1031177"/>
                </a:lnTo>
                <a:lnTo>
                  <a:pt x="6719602" y="1055275"/>
                </a:lnTo>
                <a:lnTo>
                  <a:pt x="6896957" y="1055275"/>
                </a:lnTo>
                <a:lnTo>
                  <a:pt x="6921056" y="1031272"/>
                </a:lnTo>
                <a:lnTo>
                  <a:pt x="6921056" y="853440"/>
                </a:lnTo>
                <a:lnTo>
                  <a:pt x="6896957" y="829437"/>
                </a:lnTo>
                <a:lnTo>
                  <a:pt x="6719602" y="829437"/>
                </a:lnTo>
                <a:close/>
                <a:moveTo>
                  <a:pt x="1851660" y="1069181"/>
                </a:moveTo>
                <a:cubicBezTo>
                  <a:pt x="1800035" y="1069181"/>
                  <a:pt x="1753648" y="1079373"/>
                  <a:pt x="1712595" y="1099566"/>
                </a:cubicBezTo>
                <a:cubicBezTo>
                  <a:pt x="1671447" y="1119854"/>
                  <a:pt x="1633633" y="1151573"/>
                  <a:pt x="1599057" y="1194721"/>
                </a:cubicBezTo>
                <a:cubicBezTo>
                  <a:pt x="1572387" y="1151573"/>
                  <a:pt x="1542098" y="1120045"/>
                  <a:pt x="1508189" y="1100233"/>
                </a:cubicBezTo>
                <a:cubicBezTo>
                  <a:pt x="1474280" y="1080421"/>
                  <a:pt x="1433893" y="1070515"/>
                  <a:pt x="1387126" y="1070515"/>
                </a:cubicBezTo>
                <a:cubicBezTo>
                  <a:pt x="1335977" y="1070515"/>
                  <a:pt x="1290638" y="1080611"/>
                  <a:pt x="1251299" y="1100900"/>
                </a:cubicBezTo>
                <a:cubicBezTo>
                  <a:pt x="1211961" y="1121188"/>
                  <a:pt x="1176528" y="1152430"/>
                  <a:pt x="1145000" y="1194816"/>
                </a:cubicBezTo>
                <a:lnTo>
                  <a:pt x="1145000" y="1089755"/>
                </a:lnTo>
                <a:lnTo>
                  <a:pt x="887159" y="1089755"/>
                </a:lnTo>
                <a:lnTo>
                  <a:pt x="887159" y="1808512"/>
                </a:lnTo>
                <a:lnTo>
                  <a:pt x="1166717" y="1808512"/>
                </a:lnTo>
                <a:lnTo>
                  <a:pt x="1166717" y="1422368"/>
                </a:lnTo>
                <a:cubicBezTo>
                  <a:pt x="1166717" y="1380935"/>
                  <a:pt x="1174909" y="1349407"/>
                  <a:pt x="1191292" y="1327785"/>
                </a:cubicBezTo>
                <a:cubicBezTo>
                  <a:pt x="1207675" y="1306163"/>
                  <a:pt x="1231678" y="1295400"/>
                  <a:pt x="1263110" y="1295400"/>
                </a:cubicBezTo>
                <a:cubicBezTo>
                  <a:pt x="1298543" y="1295400"/>
                  <a:pt x="1323975" y="1306068"/>
                  <a:pt x="1339501" y="1327499"/>
                </a:cubicBezTo>
                <a:cubicBezTo>
                  <a:pt x="1355027" y="1348931"/>
                  <a:pt x="1362837" y="1384268"/>
                  <a:pt x="1362837" y="1433608"/>
                </a:cubicBezTo>
                <a:lnTo>
                  <a:pt x="1362837" y="1808512"/>
                </a:lnTo>
                <a:lnTo>
                  <a:pt x="1641062" y="1808512"/>
                </a:lnTo>
                <a:lnTo>
                  <a:pt x="1641062" y="1426369"/>
                </a:lnTo>
                <a:cubicBezTo>
                  <a:pt x="1641062" y="1381411"/>
                  <a:pt x="1649159" y="1348359"/>
                  <a:pt x="1665351" y="1327214"/>
                </a:cubicBezTo>
                <a:cubicBezTo>
                  <a:pt x="1681543" y="1306068"/>
                  <a:pt x="1706880" y="1295400"/>
                  <a:pt x="1741456" y="1295400"/>
                </a:cubicBezTo>
                <a:cubicBezTo>
                  <a:pt x="1776032" y="1295400"/>
                  <a:pt x="1799558" y="1305592"/>
                  <a:pt x="1814608" y="1325880"/>
                </a:cubicBezTo>
                <a:cubicBezTo>
                  <a:pt x="1829657" y="1346168"/>
                  <a:pt x="1837277" y="1378744"/>
                  <a:pt x="1837277" y="1423702"/>
                </a:cubicBezTo>
                <a:lnTo>
                  <a:pt x="1837277" y="1808512"/>
                </a:lnTo>
                <a:lnTo>
                  <a:pt x="2116741" y="1808512"/>
                </a:lnTo>
                <a:lnTo>
                  <a:pt x="2116741" y="1318546"/>
                </a:lnTo>
                <a:cubicBezTo>
                  <a:pt x="2116741" y="1239679"/>
                  <a:pt x="2093595" y="1178338"/>
                  <a:pt x="2047208" y="1134713"/>
                </a:cubicBezTo>
                <a:cubicBezTo>
                  <a:pt x="2000822" y="1091089"/>
                  <a:pt x="1935670" y="1069277"/>
                  <a:pt x="1851660" y="1069277"/>
                </a:cubicBezTo>
                <a:close/>
                <a:moveTo>
                  <a:pt x="411575" y="1066324"/>
                </a:moveTo>
                <a:cubicBezTo>
                  <a:pt x="156591" y="1066324"/>
                  <a:pt x="0" y="1216057"/>
                  <a:pt x="0" y="1456277"/>
                </a:cubicBezTo>
                <a:cubicBezTo>
                  <a:pt x="0" y="1696498"/>
                  <a:pt x="152495" y="1834134"/>
                  <a:pt x="400717" y="1834134"/>
                </a:cubicBezTo>
                <a:cubicBezTo>
                  <a:pt x="622078" y="1834134"/>
                  <a:pt x="757047" y="1751838"/>
                  <a:pt x="796100" y="1596676"/>
                </a:cubicBezTo>
                <a:lnTo>
                  <a:pt x="523494" y="1596676"/>
                </a:lnTo>
                <a:cubicBezTo>
                  <a:pt x="509968" y="1634490"/>
                  <a:pt x="472250" y="1656112"/>
                  <a:pt x="416814" y="1656112"/>
                </a:cubicBezTo>
                <a:cubicBezTo>
                  <a:pt x="334518" y="1656112"/>
                  <a:pt x="287274" y="1604867"/>
                  <a:pt x="284607" y="1513046"/>
                </a:cubicBezTo>
                <a:lnTo>
                  <a:pt x="818959" y="1513046"/>
                </a:lnTo>
                <a:lnTo>
                  <a:pt x="818959" y="1495520"/>
                </a:lnTo>
                <a:cubicBezTo>
                  <a:pt x="818959" y="1225582"/>
                  <a:pt x="665131" y="1066419"/>
                  <a:pt x="411385" y="1066419"/>
                </a:cubicBezTo>
                <a:close/>
                <a:moveTo>
                  <a:pt x="284797" y="1369885"/>
                </a:moveTo>
                <a:cubicBezTo>
                  <a:pt x="288703" y="1284923"/>
                  <a:pt x="334709" y="1236250"/>
                  <a:pt x="408908" y="1236250"/>
                </a:cubicBezTo>
                <a:cubicBezTo>
                  <a:pt x="489871" y="1236250"/>
                  <a:pt x="533019" y="1280827"/>
                  <a:pt x="538448" y="1369885"/>
                </a:cubicBezTo>
                <a:lnTo>
                  <a:pt x="284797" y="1369885"/>
                </a:lnTo>
                <a:close/>
                <a:moveTo>
                  <a:pt x="2702052" y="1072991"/>
                </a:moveTo>
                <a:cubicBezTo>
                  <a:pt x="2599563" y="1072991"/>
                  <a:pt x="2526697" y="1106710"/>
                  <a:pt x="2470023" y="1183672"/>
                </a:cubicBezTo>
                <a:lnTo>
                  <a:pt x="2470023" y="1091851"/>
                </a:lnTo>
                <a:lnTo>
                  <a:pt x="2217706" y="1091851"/>
                </a:lnTo>
                <a:lnTo>
                  <a:pt x="2217706" y="2095881"/>
                </a:lnTo>
                <a:lnTo>
                  <a:pt x="2494312" y="2095881"/>
                </a:lnTo>
                <a:lnTo>
                  <a:pt x="2494312" y="1740980"/>
                </a:lnTo>
                <a:cubicBezTo>
                  <a:pt x="2544223" y="1804416"/>
                  <a:pt x="2608993" y="1832705"/>
                  <a:pt x="2696718" y="1832705"/>
                </a:cubicBezTo>
                <a:cubicBezTo>
                  <a:pt x="2888361" y="1832705"/>
                  <a:pt x="3013901" y="1685544"/>
                  <a:pt x="3013901" y="1452182"/>
                </a:cubicBezTo>
                <a:cubicBezTo>
                  <a:pt x="3013901" y="1218819"/>
                  <a:pt x="2884361" y="1072991"/>
                  <a:pt x="2702147" y="1072991"/>
                </a:cubicBezTo>
                <a:close/>
                <a:moveTo>
                  <a:pt x="2611660" y="1614202"/>
                </a:moveTo>
                <a:cubicBezTo>
                  <a:pt x="2533460" y="1614202"/>
                  <a:pt x="2494312" y="1560195"/>
                  <a:pt x="2494312" y="1452182"/>
                </a:cubicBezTo>
                <a:cubicBezTo>
                  <a:pt x="2494312" y="1338834"/>
                  <a:pt x="2529364" y="1286161"/>
                  <a:pt x="2614422" y="1286161"/>
                </a:cubicBezTo>
                <a:cubicBezTo>
                  <a:pt x="2692718" y="1286161"/>
                  <a:pt x="2729103" y="1340168"/>
                  <a:pt x="2729103" y="1452182"/>
                </a:cubicBezTo>
                <a:cubicBezTo>
                  <a:pt x="2729103" y="1564196"/>
                  <a:pt x="2688622" y="1614202"/>
                  <a:pt x="2611660" y="1614202"/>
                </a:cubicBezTo>
                <a:close/>
                <a:moveTo>
                  <a:pt x="3458623" y="1066324"/>
                </a:moveTo>
                <a:cubicBezTo>
                  <a:pt x="3206306" y="1066324"/>
                  <a:pt x="3053810" y="1211961"/>
                  <a:pt x="3053810" y="1449515"/>
                </a:cubicBezTo>
                <a:cubicBezTo>
                  <a:pt x="3053810" y="1687068"/>
                  <a:pt x="3206306" y="1834134"/>
                  <a:pt x="3458623" y="1834134"/>
                </a:cubicBezTo>
                <a:cubicBezTo>
                  <a:pt x="3710940" y="1834134"/>
                  <a:pt x="3863435" y="1687068"/>
                  <a:pt x="3863435" y="1449515"/>
                </a:cubicBezTo>
                <a:cubicBezTo>
                  <a:pt x="3863435" y="1211961"/>
                  <a:pt x="3710940" y="1066324"/>
                  <a:pt x="3458623" y="1066324"/>
                </a:cubicBezTo>
                <a:close/>
                <a:moveTo>
                  <a:pt x="3458623" y="1635728"/>
                </a:moveTo>
                <a:cubicBezTo>
                  <a:pt x="3372231" y="1635728"/>
                  <a:pt x="3341180" y="1576388"/>
                  <a:pt x="3341180" y="1449515"/>
                </a:cubicBezTo>
                <a:cubicBezTo>
                  <a:pt x="3341180" y="1322642"/>
                  <a:pt x="3372231" y="1264634"/>
                  <a:pt x="3458623" y="1264634"/>
                </a:cubicBezTo>
                <a:cubicBezTo>
                  <a:pt x="3545015" y="1264634"/>
                  <a:pt x="3577400" y="1322737"/>
                  <a:pt x="3577400" y="1449515"/>
                </a:cubicBezTo>
                <a:cubicBezTo>
                  <a:pt x="3577400" y="1576292"/>
                  <a:pt x="3545015" y="1635728"/>
                  <a:pt x="3458623" y="1635728"/>
                </a:cubicBezTo>
                <a:close/>
                <a:moveTo>
                  <a:pt x="4805744" y="1091851"/>
                </a:moveTo>
                <a:lnTo>
                  <a:pt x="4699159" y="1529143"/>
                </a:lnTo>
                <a:lnTo>
                  <a:pt x="4588478" y="1091851"/>
                </a:lnTo>
                <a:lnTo>
                  <a:pt x="4348258" y="1091851"/>
                </a:lnTo>
                <a:lnTo>
                  <a:pt x="4237578" y="1529143"/>
                </a:lnTo>
                <a:lnTo>
                  <a:pt x="4130898" y="1091851"/>
                </a:lnTo>
                <a:lnTo>
                  <a:pt x="3848862" y="1091851"/>
                </a:lnTo>
                <a:lnTo>
                  <a:pt x="4085082" y="1808512"/>
                </a:lnTo>
                <a:lnTo>
                  <a:pt x="4364356" y="1808512"/>
                </a:lnTo>
                <a:lnTo>
                  <a:pt x="4468368" y="1394174"/>
                </a:lnTo>
                <a:lnTo>
                  <a:pt x="4572191" y="1808512"/>
                </a:lnTo>
                <a:lnTo>
                  <a:pt x="4851559" y="1808512"/>
                </a:lnTo>
                <a:lnTo>
                  <a:pt x="5076825" y="1091851"/>
                </a:lnTo>
                <a:lnTo>
                  <a:pt x="4805648" y="1091851"/>
                </a:lnTo>
                <a:close/>
                <a:moveTo>
                  <a:pt x="5476018" y="1066229"/>
                </a:moveTo>
                <a:cubicBezTo>
                  <a:pt x="5221034" y="1066229"/>
                  <a:pt x="5064443" y="1215962"/>
                  <a:pt x="5064443" y="1456182"/>
                </a:cubicBezTo>
                <a:cubicBezTo>
                  <a:pt x="5064443" y="1696402"/>
                  <a:pt x="5216938" y="1834039"/>
                  <a:pt x="5465159" y="1834039"/>
                </a:cubicBezTo>
                <a:cubicBezTo>
                  <a:pt x="5686521" y="1834039"/>
                  <a:pt x="5821490" y="1751743"/>
                  <a:pt x="5860542" y="1596581"/>
                </a:cubicBezTo>
                <a:lnTo>
                  <a:pt x="5587937" y="1596581"/>
                </a:lnTo>
                <a:cubicBezTo>
                  <a:pt x="5574411" y="1634395"/>
                  <a:pt x="5536597" y="1656017"/>
                  <a:pt x="5481257" y="1656017"/>
                </a:cubicBezTo>
                <a:cubicBezTo>
                  <a:pt x="5398961" y="1656017"/>
                  <a:pt x="5351717" y="1604772"/>
                  <a:pt x="5349049" y="1512951"/>
                </a:cubicBezTo>
                <a:lnTo>
                  <a:pt x="5883402" y="1512951"/>
                </a:lnTo>
                <a:lnTo>
                  <a:pt x="5883402" y="1495425"/>
                </a:lnTo>
                <a:cubicBezTo>
                  <a:pt x="5883402" y="1225487"/>
                  <a:pt x="5729573" y="1066324"/>
                  <a:pt x="5475828" y="1066324"/>
                </a:cubicBezTo>
                <a:close/>
                <a:moveTo>
                  <a:pt x="5349240" y="1369790"/>
                </a:moveTo>
                <a:cubicBezTo>
                  <a:pt x="5353146" y="1284827"/>
                  <a:pt x="5399151" y="1236155"/>
                  <a:pt x="5473351" y="1236155"/>
                </a:cubicBezTo>
                <a:cubicBezTo>
                  <a:pt x="5554314" y="1236155"/>
                  <a:pt x="5597462" y="1280732"/>
                  <a:pt x="5602891" y="1369790"/>
                </a:cubicBezTo>
                <a:lnTo>
                  <a:pt x="5349240" y="1369790"/>
                </a:lnTo>
                <a:close/>
                <a:moveTo>
                  <a:pt x="6443377" y="1072896"/>
                </a:moveTo>
                <a:cubicBezTo>
                  <a:pt x="6327267" y="1072896"/>
                  <a:pt x="6258497" y="1117378"/>
                  <a:pt x="6220682" y="1222724"/>
                </a:cubicBezTo>
                <a:lnTo>
                  <a:pt x="6220682" y="1091756"/>
                </a:lnTo>
                <a:lnTo>
                  <a:pt x="5957507" y="1091756"/>
                </a:lnTo>
                <a:lnTo>
                  <a:pt x="5957507" y="1808417"/>
                </a:lnTo>
                <a:lnTo>
                  <a:pt x="6243543" y="1808417"/>
                </a:lnTo>
                <a:lnTo>
                  <a:pt x="6243543" y="1514285"/>
                </a:lnTo>
                <a:cubicBezTo>
                  <a:pt x="6243543" y="1403604"/>
                  <a:pt x="6296216" y="1353598"/>
                  <a:pt x="6410897" y="1353598"/>
                </a:cubicBezTo>
                <a:cubicBezTo>
                  <a:pt x="6428423" y="1353598"/>
                  <a:pt x="6447378" y="1355027"/>
                  <a:pt x="6468999" y="1357693"/>
                </a:cubicBezTo>
                <a:lnTo>
                  <a:pt x="6468999" y="1072896"/>
                </a:lnTo>
                <a:lnTo>
                  <a:pt x="6443377" y="1072896"/>
                </a:lnTo>
                <a:close/>
              </a:path>
            </a:pathLst>
          </a:custGeom>
          <a:solidFill>
            <a:schemeClr val="tx1"/>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3092718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cSld name="Divider">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CDCADD61-C74B-40A1-96F4-049AD481F394}"/>
              </a:ext>
            </a:extLst>
          </p:cNvPr>
          <p:cNvSpPr>
            <a:spLocks noGrp="1"/>
          </p:cNvSpPr>
          <p:nvPr>
            <p:ph type="title"/>
          </p:nvPr>
        </p:nvSpPr>
        <p:spPr>
          <a:xfrm>
            <a:off x="458400" y="4110038"/>
            <a:ext cx="9720000" cy="971550"/>
          </a:xfrm>
        </p:spPr>
        <p:txBody>
          <a:bodyPr lIns="0" tIns="0" rIns="97200" bIns="97200"/>
          <a:lstStyle>
            <a:lvl1pPr algn="l" defTabSz="914400" rtl="0" eaLnBrk="1" latinLnBrk="0" hangingPunct="1">
              <a:lnSpc>
                <a:spcPct val="100000"/>
              </a:lnSpc>
              <a:spcBef>
                <a:spcPct val="0"/>
              </a:spcBef>
              <a:buNone/>
              <a:defRPr lang="en-US" sz="5400" b="0" i="0" kern="1200" spc="-100" baseline="0">
                <a:solidFill>
                  <a:schemeClr val="tx1"/>
                </a:solidFill>
                <a:latin typeface="+mj-lt"/>
                <a:ea typeface="+mj-ea"/>
                <a:cs typeface="+mj-cs"/>
              </a:defRPr>
            </a:lvl1pPr>
          </a:lstStyle>
          <a:p>
            <a:r>
              <a:rPr lang="en-US"/>
              <a:t>Click to edit Master title style</a:t>
            </a:r>
          </a:p>
        </p:txBody>
      </p:sp>
      <p:sp>
        <p:nvSpPr>
          <p:cNvPr id="6" name="Section number">
            <a:extLst>
              <a:ext uri="{FF2B5EF4-FFF2-40B4-BE49-F238E27FC236}">
                <a16:creationId xmlns:a16="http://schemas.microsoft.com/office/drawing/2014/main" id="{6B06C54C-29C7-412C-B0CE-94706D7D219F}"/>
              </a:ext>
            </a:extLst>
          </p:cNvPr>
          <p:cNvSpPr>
            <a:spLocks noGrp="1"/>
          </p:cNvSpPr>
          <p:nvPr>
            <p:ph type="body" idx="1" hasCustomPrompt="1"/>
          </p:nvPr>
        </p:nvSpPr>
        <p:spPr>
          <a:xfrm>
            <a:off x="458400" y="2359800"/>
            <a:ext cx="1749813" cy="1555750"/>
          </a:xfrm>
          <a:prstGeom prst="rect">
            <a:avLst/>
          </a:prstGeom>
          <a:noFill/>
        </p:spPr>
        <p:txBody>
          <a:bodyPr lIns="0" anchor="b">
            <a:noAutofit/>
          </a:bodyPr>
          <a:lstStyle>
            <a:lvl1pPr marL="0" indent="0">
              <a:buNone/>
              <a:defRPr sz="9600" b="1" i="0" baseline="0">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a:t>
            </a:r>
          </a:p>
        </p:txBody>
      </p:sp>
    </p:spTree>
    <p:extLst>
      <p:ext uri="{BB962C8B-B14F-4D97-AF65-F5344CB8AC3E}">
        <p14:creationId xmlns:p14="http://schemas.microsoft.com/office/powerpoint/2010/main" val="4009876593"/>
      </p:ext>
    </p:extLst>
  </p:cSld>
  <p:clrMapOvr>
    <a:overrideClrMapping bg1="lt1" tx1="dk1" bg2="lt2" tx2="dk2" accent1="accent1" accent2="accent2" accent3="accent3" accent4="accent4" accent5="accent5" accent6="accent6" hlink="hlink" folHlink="folHlink"/>
  </p:clrMapOvr>
  <p:transition/>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Grey Title only">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C6D96D0-601C-4EF4-89A1-957805A84620}"/>
              </a:ext>
            </a:extLst>
          </p:cNvPr>
          <p:cNvSpPr>
            <a:spLocks noGrp="1"/>
          </p:cNvSpPr>
          <p:nvPr>
            <p:ph type="title"/>
          </p:nvPr>
        </p:nvSpPr>
        <p:spPr/>
        <p:txBody>
          <a:bodyPr/>
          <a:lstStyle/>
          <a:p>
            <a:r>
              <a:rPr lang="en-US"/>
              <a:t>Click to edit Master title style</a:t>
            </a:r>
            <a:endParaRPr lang="de-DE"/>
          </a:p>
        </p:txBody>
      </p:sp>
      <p:sp>
        <p:nvSpPr>
          <p:cNvPr id="6" name="Datumsplatzhalter 5" hidden="1">
            <a:extLst>
              <a:ext uri="{FF2B5EF4-FFF2-40B4-BE49-F238E27FC236}">
                <a16:creationId xmlns:a16="http://schemas.microsoft.com/office/drawing/2014/main" id="{3DA70D42-2270-48BE-A769-DECBB451B080}"/>
              </a:ext>
            </a:extLst>
          </p:cNvPr>
          <p:cNvSpPr>
            <a:spLocks noGrp="1"/>
          </p:cNvSpPr>
          <p:nvPr>
            <p:ph type="dt" sz="half" idx="10"/>
          </p:nvPr>
        </p:nvSpPr>
        <p:spPr/>
        <p:txBody>
          <a:bodyPr/>
          <a:lstStyle/>
          <a:p>
            <a:endParaRPr lang="en-US"/>
          </a:p>
        </p:txBody>
      </p:sp>
      <p:sp>
        <p:nvSpPr>
          <p:cNvPr id="7" name="Fußzeilenplatzhalter 6" hidden="1">
            <a:extLst>
              <a:ext uri="{FF2B5EF4-FFF2-40B4-BE49-F238E27FC236}">
                <a16:creationId xmlns:a16="http://schemas.microsoft.com/office/drawing/2014/main" id="{4294E9C2-A90D-4F0C-9F1C-DEDC85BEB70A}"/>
              </a:ext>
            </a:extLst>
          </p:cNvPr>
          <p:cNvSpPr>
            <a:spLocks noGrp="1"/>
          </p:cNvSpPr>
          <p:nvPr>
            <p:ph type="ftr" sz="quarter" idx="11"/>
          </p:nvPr>
        </p:nvSpPr>
        <p:spPr/>
        <p:txBody>
          <a:bodyPr/>
          <a:lstStyle/>
          <a:p>
            <a:endParaRPr lang="en-US"/>
          </a:p>
        </p:txBody>
      </p:sp>
      <p:sp>
        <p:nvSpPr>
          <p:cNvPr id="8" name="Foliennummernplatzhalter 7" hidden="1">
            <a:extLst>
              <a:ext uri="{FF2B5EF4-FFF2-40B4-BE49-F238E27FC236}">
                <a16:creationId xmlns:a16="http://schemas.microsoft.com/office/drawing/2014/main" id="{38C5FFCA-2161-4F74-8D09-AD7CE0DEF225}"/>
              </a:ext>
            </a:extLst>
          </p:cNvPr>
          <p:cNvSpPr>
            <a:spLocks noGrp="1"/>
          </p:cNvSpPr>
          <p:nvPr>
            <p:ph type="sldNum" sz="quarter" idx="12"/>
          </p:nvPr>
        </p:nvSpPr>
        <p:spPr/>
        <p:txBody>
          <a:bodyPr/>
          <a:lstStyle/>
          <a:p>
            <a:fld id="{895CC360-39D1-4D3A-B6C9-5AECCFD4809A}" type="slidenum">
              <a:rPr lang="en-US"/>
              <a:t>‹#›</a:t>
            </a:fld>
            <a:endParaRPr lang="en-US"/>
          </a:p>
        </p:txBody>
      </p:sp>
      <p:sp>
        <p:nvSpPr>
          <p:cNvPr id="10" name="Layoutschutz" hidden="1">
            <a:extLst>
              <a:ext uri="{FF2B5EF4-FFF2-40B4-BE49-F238E27FC236}">
                <a16:creationId xmlns:a16="http://schemas.microsoft.com/office/drawing/2014/main" id="{96657572-7DD5-4FBD-9424-0C7DA1DA4BC3}"/>
              </a:ext>
            </a:extLst>
          </p:cNvPr>
          <p:cNvSpPr/>
          <p:nvPr userDrawn="1">
            <p:custDataLst>
              <p:tags r:id="rId1"/>
            </p:custDataLst>
          </p:nvPr>
        </p:nvSpPr>
        <p:spPr>
          <a:xfrm>
            <a:off x="254000" y="1295400"/>
            <a:ext cx="11760200" cy="5562600"/>
          </a:xfrm>
          <a:prstGeom prst="rect">
            <a:avLst/>
          </a:pr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US" sz="1600">
              <a:solidFill>
                <a:schemeClr val="tx1"/>
              </a:solidFill>
            </a:endParaRPr>
          </a:p>
        </p:txBody>
      </p:sp>
    </p:spTree>
    <p:extLst>
      <p:ext uri="{BB962C8B-B14F-4D97-AF65-F5344CB8AC3E}">
        <p14:creationId xmlns:p14="http://schemas.microsoft.com/office/powerpoint/2010/main" val="3928414370"/>
      </p:ext>
    </p:extLst>
  </p:cSld>
  <p:clrMapOvr>
    <a:overrideClrMapping bg1="lt1" tx1="dk1" bg2="lt2" tx2="dk2" accent1="accent1" accent2="accent2" accent3="accent3" accent4="accent4" accent5="accent5" accent6="accent6" hlink="hlink" folHlink="folHlink"/>
  </p:clrMapOvr>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CC white logo">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CD45725-0FF6-4B65-0D2B-7A5FCDC3F382}"/>
              </a:ext>
            </a:extLst>
          </p:cNvPr>
          <p:cNvSpPr>
            <a:spLocks noGrp="1"/>
          </p:cNvSpPr>
          <p:nvPr>
            <p:ph type="pic" sz="quarter" idx="10"/>
          </p:nvPr>
        </p:nvSpPr>
        <p:spPr>
          <a:xfrm>
            <a:off x="0" y="0"/>
            <a:ext cx="12192000" cy="6858000"/>
          </a:xfrm>
          <a:custGeom>
            <a:avLst/>
            <a:gdLst>
              <a:gd name="connsiteX0" fmla="*/ 10034885 w 12192000"/>
              <a:gd name="connsiteY0" fmla="*/ 1173187 h 6858000"/>
              <a:gd name="connsiteX1" fmla="*/ 10071020 w 12192000"/>
              <a:gd name="connsiteY1" fmla="*/ 1225500 h 6858000"/>
              <a:gd name="connsiteX2" fmla="*/ 10034015 w 12192000"/>
              <a:gd name="connsiteY2" fmla="*/ 1276551 h 6858000"/>
              <a:gd name="connsiteX3" fmla="*/ 9997039 w 12192000"/>
              <a:gd name="connsiteY3" fmla="*/ 1225500 h 6858000"/>
              <a:gd name="connsiteX4" fmla="*/ 10034885 w 12192000"/>
              <a:gd name="connsiteY4" fmla="*/ 1173187 h 6858000"/>
              <a:gd name="connsiteX5" fmla="*/ 10300888 w 12192000"/>
              <a:gd name="connsiteY5" fmla="*/ 1166404 h 6858000"/>
              <a:gd name="connsiteX6" fmla="*/ 10338314 w 12192000"/>
              <a:gd name="connsiteY6" fmla="*/ 1224659 h 6858000"/>
              <a:gd name="connsiteX7" fmla="*/ 10300888 w 12192000"/>
              <a:gd name="connsiteY7" fmla="*/ 1283334 h 6858000"/>
              <a:gd name="connsiteX8" fmla="*/ 10263882 w 12192000"/>
              <a:gd name="connsiteY8" fmla="*/ 1224659 h 6858000"/>
              <a:gd name="connsiteX9" fmla="*/ 10300888 w 12192000"/>
              <a:gd name="connsiteY9" fmla="*/ 1166404 h 6858000"/>
              <a:gd name="connsiteX10" fmla="*/ 9339940 w 12192000"/>
              <a:gd name="connsiteY10" fmla="*/ 1157461 h 6858000"/>
              <a:gd name="connsiteX11" fmla="*/ 9380757 w 12192000"/>
              <a:gd name="connsiteY11" fmla="*/ 1199568 h 6858000"/>
              <a:gd name="connsiteX12" fmla="*/ 9300833 w 12192000"/>
              <a:gd name="connsiteY12" fmla="*/ 1199568 h 6858000"/>
              <a:gd name="connsiteX13" fmla="*/ 9339940 w 12192000"/>
              <a:gd name="connsiteY13" fmla="*/ 1157461 h 6858000"/>
              <a:gd name="connsiteX14" fmla="*/ 10935718 w 12192000"/>
              <a:gd name="connsiteY14" fmla="*/ 1157431 h 6858000"/>
              <a:gd name="connsiteX15" fmla="*/ 10976535 w 12192000"/>
              <a:gd name="connsiteY15" fmla="*/ 1199538 h 6858000"/>
              <a:gd name="connsiteX16" fmla="*/ 10896611 w 12192000"/>
              <a:gd name="connsiteY16" fmla="*/ 1199538 h 6858000"/>
              <a:gd name="connsiteX17" fmla="*/ 10935718 w 12192000"/>
              <a:gd name="connsiteY17" fmla="*/ 1157431 h 6858000"/>
              <a:gd name="connsiteX18" fmla="*/ 10423850 w 12192000"/>
              <a:gd name="connsiteY18" fmla="*/ 1111961 h 6858000"/>
              <a:gd name="connsiteX19" fmla="*/ 10498282 w 12192000"/>
              <a:gd name="connsiteY19" fmla="*/ 1337777 h 6858000"/>
              <a:gd name="connsiteX20" fmla="*/ 10586279 w 12192000"/>
              <a:gd name="connsiteY20" fmla="*/ 1337777 h 6858000"/>
              <a:gd name="connsiteX21" fmla="*/ 10619053 w 12192000"/>
              <a:gd name="connsiteY21" fmla="*/ 1207222 h 6858000"/>
              <a:gd name="connsiteX22" fmla="*/ 10651767 w 12192000"/>
              <a:gd name="connsiteY22" fmla="*/ 1337777 h 6858000"/>
              <a:gd name="connsiteX23" fmla="*/ 10739794 w 12192000"/>
              <a:gd name="connsiteY23" fmla="*/ 1337777 h 6858000"/>
              <a:gd name="connsiteX24" fmla="*/ 10810774 w 12192000"/>
              <a:gd name="connsiteY24" fmla="*/ 1111961 h 6858000"/>
              <a:gd name="connsiteX25" fmla="*/ 10725358 w 12192000"/>
              <a:gd name="connsiteY25" fmla="*/ 1111961 h 6858000"/>
              <a:gd name="connsiteX26" fmla="*/ 10691774 w 12192000"/>
              <a:gd name="connsiteY26" fmla="*/ 1249750 h 6858000"/>
              <a:gd name="connsiteX27" fmla="*/ 10656899 w 12192000"/>
              <a:gd name="connsiteY27" fmla="*/ 1111961 h 6858000"/>
              <a:gd name="connsiteX28" fmla="*/ 10581207 w 12192000"/>
              <a:gd name="connsiteY28" fmla="*/ 1111961 h 6858000"/>
              <a:gd name="connsiteX29" fmla="*/ 10546332 w 12192000"/>
              <a:gd name="connsiteY29" fmla="*/ 1249750 h 6858000"/>
              <a:gd name="connsiteX30" fmla="*/ 10512718 w 12192000"/>
              <a:gd name="connsiteY30" fmla="*/ 1111961 h 6858000"/>
              <a:gd name="connsiteX31" fmla="*/ 10062497 w 12192000"/>
              <a:gd name="connsiteY31" fmla="*/ 1106019 h 6858000"/>
              <a:gd name="connsiteX32" fmla="*/ 9989386 w 12192000"/>
              <a:gd name="connsiteY32" fmla="*/ 1140894 h 6858000"/>
              <a:gd name="connsiteX33" fmla="*/ 9989386 w 12192000"/>
              <a:gd name="connsiteY33" fmla="*/ 1111961 h 6858000"/>
              <a:gd name="connsiteX34" fmla="*/ 9909882 w 12192000"/>
              <a:gd name="connsiteY34" fmla="*/ 1111961 h 6858000"/>
              <a:gd name="connsiteX35" fmla="*/ 9909882 w 12192000"/>
              <a:gd name="connsiteY35" fmla="*/ 1428325 h 6858000"/>
              <a:gd name="connsiteX36" fmla="*/ 9997039 w 12192000"/>
              <a:gd name="connsiteY36" fmla="*/ 1428325 h 6858000"/>
              <a:gd name="connsiteX37" fmla="*/ 9997039 w 12192000"/>
              <a:gd name="connsiteY37" fmla="*/ 1316498 h 6858000"/>
              <a:gd name="connsiteX38" fmla="*/ 10060816 w 12192000"/>
              <a:gd name="connsiteY38" fmla="*/ 1345400 h 6858000"/>
              <a:gd name="connsiteX39" fmla="*/ 10160758 w 12192000"/>
              <a:gd name="connsiteY39" fmla="*/ 1225500 h 6858000"/>
              <a:gd name="connsiteX40" fmla="*/ 10062526 w 12192000"/>
              <a:gd name="connsiteY40" fmla="*/ 1106019 h 6858000"/>
              <a:gd name="connsiteX41" fmla="*/ 11241367 w 12192000"/>
              <a:gd name="connsiteY41" fmla="*/ 1105989 h 6858000"/>
              <a:gd name="connsiteX42" fmla="*/ 11171197 w 12192000"/>
              <a:gd name="connsiteY42" fmla="*/ 1153199 h 6858000"/>
              <a:gd name="connsiteX43" fmla="*/ 11171197 w 12192000"/>
              <a:gd name="connsiteY43" fmla="*/ 1111931 h 6858000"/>
              <a:gd name="connsiteX44" fmla="*/ 11088272 w 12192000"/>
              <a:gd name="connsiteY44" fmla="*/ 1111931 h 6858000"/>
              <a:gd name="connsiteX45" fmla="*/ 11088272 w 12192000"/>
              <a:gd name="connsiteY45" fmla="*/ 1337747 h 6858000"/>
              <a:gd name="connsiteX46" fmla="*/ 11178401 w 12192000"/>
              <a:gd name="connsiteY46" fmla="*/ 1337747 h 6858000"/>
              <a:gd name="connsiteX47" fmla="*/ 11178401 w 12192000"/>
              <a:gd name="connsiteY47" fmla="*/ 1245068 h 6858000"/>
              <a:gd name="connsiteX48" fmla="*/ 11231133 w 12192000"/>
              <a:gd name="connsiteY48" fmla="*/ 1194436 h 6858000"/>
              <a:gd name="connsiteX49" fmla="*/ 11249441 w 12192000"/>
              <a:gd name="connsiteY49" fmla="*/ 1195727 h 6858000"/>
              <a:gd name="connsiteX50" fmla="*/ 11249441 w 12192000"/>
              <a:gd name="connsiteY50" fmla="*/ 1105989 h 6858000"/>
              <a:gd name="connsiteX51" fmla="*/ 9794543 w 12192000"/>
              <a:gd name="connsiteY51" fmla="*/ 1104818 h 6858000"/>
              <a:gd name="connsiteX52" fmla="*/ 9750724 w 12192000"/>
              <a:gd name="connsiteY52" fmla="*/ 1114392 h 6858000"/>
              <a:gd name="connsiteX53" fmla="*/ 9714949 w 12192000"/>
              <a:gd name="connsiteY53" fmla="*/ 1144375 h 6858000"/>
              <a:gd name="connsiteX54" fmla="*/ 9686317 w 12192000"/>
              <a:gd name="connsiteY54" fmla="*/ 1114602 h 6858000"/>
              <a:gd name="connsiteX55" fmla="*/ 9648171 w 12192000"/>
              <a:gd name="connsiteY55" fmla="*/ 1105238 h 6858000"/>
              <a:gd name="connsiteX56" fmla="*/ 9605372 w 12192000"/>
              <a:gd name="connsiteY56" fmla="*/ 1114813 h 6858000"/>
              <a:gd name="connsiteX57" fmla="*/ 9571878 w 12192000"/>
              <a:gd name="connsiteY57" fmla="*/ 1144405 h 6858000"/>
              <a:gd name="connsiteX58" fmla="*/ 9571878 w 12192000"/>
              <a:gd name="connsiteY58" fmla="*/ 1111301 h 6858000"/>
              <a:gd name="connsiteX59" fmla="*/ 9490634 w 12192000"/>
              <a:gd name="connsiteY59" fmla="*/ 1111301 h 6858000"/>
              <a:gd name="connsiteX60" fmla="*/ 9490634 w 12192000"/>
              <a:gd name="connsiteY60" fmla="*/ 1337777 h 6858000"/>
              <a:gd name="connsiteX61" fmla="*/ 9578721 w 12192000"/>
              <a:gd name="connsiteY61" fmla="*/ 1337777 h 6858000"/>
              <a:gd name="connsiteX62" fmla="*/ 9578721 w 12192000"/>
              <a:gd name="connsiteY62" fmla="*/ 1216105 h 6858000"/>
              <a:gd name="connsiteX63" fmla="*/ 9586464 w 12192000"/>
              <a:gd name="connsiteY63" fmla="*/ 1186303 h 6858000"/>
              <a:gd name="connsiteX64" fmla="*/ 9609094 w 12192000"/>
              <a:gd name="connsiteY64" fmla="*/ 1176098 h 6858000"/>
              <a:gd name="connsiteX65" fmla="*/ 9633164 w 12192000"/>
              <a:gd name="connsiteY65" fmla="*/ 1186213 h 6858000"/>
              <a:gd name="connsiteX66" fmla="*/ 9640517 w 12192000"/>
              <a:gd name="connsiteY66" fmla="*/ 1219647 h 6858000"/>
              <a:gd name="connsiteX67" fmla="*/ 9640517 w 12192000"/>
              <a:gd name="connsiteY67" fmla="*/ 1337777 h 6858000"/>
              <a:gd name="connsiteX68" fmla="*/ 9728184 w 12192000"/>
              <a:gd name="connsiteY68" fmla="*/ 1337777 h 6858000"/>
              <a:gd name="connsiteX69" fmla="*/ 9728184 w 12192000"/>
              <a:gd name="connsiteY69" fmla="*/ 1217366 h 6858000"/>
              <a:gd name="connsiteX70" fmla="*/ 9735838 w 12192000"/>
              <a:gd name="connsiteY70" fmla="*/ 1186123 h 6858000"/>
              <a:gd name="connsiteX71" fmla="*/ 9759818 w 12192000"/>
              <a:gd name="connsiteY71" fmla="*/ 1176098 h 6858000"/>
              <a:gd name="connsiteX72" fmla="*/ 9782868 w 12192000"/>
              <a:gd name="connsiteY72" fmla="*/ 1185703 h 6858000"/>
              <a:gd name="connsiteX73" fmla="*/ 9790011 w 12192000"/>
              <a:gd name="connsiteY73" fmla="*/ 1216526 h 6858000"/>
              <a:gd name="connsiteX74" fmla="*/ 9790011 w 12192000"/>
              <a:gd name="connsiteY74" fmla="*/ 1337777 h 6858000"/>
              <a:gd name="connsiteX75" fmla="*/ 9878068 w 12192000"/>
              <a:gd name="connsiteY75" fmla="*/ 1337777 h 6858000"/>
              <a:gd name="connsiteX76" fmla="*/ 9878068 w 12192000"/>
              <a:gd name="connsiteY76" fmla="*/ 1183392 h 6858000"/>
              <a:gd name="connsiteX77" fmla="*/ 9856159 w 12192000"/>
              <a:gd name="connsiteY77" fmla="*/ 1125467 h 6858000"/>
              <a:gd name="connsiteX78" fmla="*/ 9794543 w 12192000"/>
              <a:gd name="connsiteY78" fmla="*/ 1104848 h 6858000"/>
              <a:gd name="connsiteX79" fmla="*/ 10300888 w 12192000"/>
              <a:gd name="connsiteY79" fmla="*/ 1103918 h 6858000"/>
              <a:gd name="connsiteX80" fmla="*/ 10173334 w 12192000"/>
              <a:gd name="connsiteY80" fmla="*/ 1224659 h 6858000"/>
              <a:gd name="connsiteX81" fmla="*/ 10300888 w 12192000"/>
              <a:gd name="connsiteY81" fmla="*/ 1345850 h 6858000"/>
              <a:gd name="connsiteX82" fmla="*/ 10428442 w 12192000"/>
              <a:gd name="connsiteY82" fmla="*/ 1224659 h 6858000"/>
              <a:gd name="connsiteX83" fmla="*/ 10300888 w 12192000"/>
              <a:gd name="connsiteY83" fmla="*/ 1103918 h 6858000"/>
              <a:gd name="connsiteX84" fmla="*/ 9340780 w 12192000"/>
              <a:gd name="connsiteY84" fmla="*/ 1103918 h 6858000"/>
              <a:gd name="connsiteX85" fmla="*/ 9211095 w 12192000"/>
              <a:gd name="connsiteY85" fmla="*/ 1226790 h 6858000"/>
              <a:gd name="connsiteX86" fmla="*/ 9337359 w 12192000"/>
              <a:gd name="connsiteY86" fmla="*/ 1345850 h 6858000"/>
              <a:gd name="connsiteX87" fmla="*/ 9461942 w 12192000"/>
              <a:gd name="connsiteY87" fmla="*/ 1271029 h 6858000"/>
              <a:gd name="connsiteX88" fmla="*/ 9376045 w 12192000"/>
              <a:gd name="connsiteY88" fmla="*/ 1271029 h 6858000"/>
              <a:gd name="connsiteX89" fmla="*/ 9342431 w 12192000"/>
              <a:gd name="connsiteY89" fmla="*/ 1289757 h 6858000"/>
              <a:gd name="connsiteX90" fmla="*/ 9300773 w 12192000"/>
              <a:gd name="connsiteY90" fmla="*/ 1244677 h 6858000"/>
              <a:gd name="connsiteX91" fmla="*/ 9469144 w 12192000"/>
              <a:gd name="connsiteY91" fmla="*/ 1244677 h 6858000"/>
              <a:gd name="connsiteX92" fmla="*/ 9469144 w 12192000"/>
              <a:gd name="connsiteY92" fmla="*/ 1239155 h 6858000"/>
              <a:gd name="connsiteX93" fmla="*/ 9340720 w 12192000"/>
              <a:gd name="connsiteY93" fmla="*/ 1103948 h 6858000"/>
              <a:gd name="connsiteX94" fmla="*/ 10936558 w 12192000"/>
              <a:gd name="connsiteY94" fmla="*/ 1103888 h 6858000"/>
              <a:gd name="connsiteX95" fmla="*/ 10806873 w 12192000"/>
              <a:gd name="connsiteY95" fmla="*/ 1226760 h 6858000"/>
              <a:gd name="connsiteX96" fmla="*/ 10933136 w 12192000"/>
              <a:gd name="connsiteY96" fmla="*/ 1345821 h 6858000"/>
              <a:gd name="connsiteX97" fmla="*/ 11057719 w 12192000"/>
              <a:gd name="connsiteY97" fmla="*/ 1270999 h 6858000"/>
              <a:gd name="connsiteX98" fmla="*/ 10971823 w 12192000"/>
              <a:gd name="connsiteY98" fmla="*/ 1270999 h 6858000"/>
              <a:gd name="connsiteX99" fmla="*/ 10938209 w 12192000"/>
              <a:gd name="connsiteY99" fmla="*/ 1289727 h 6858000"/>
              <a:gd name="connsiteX100" fmla="*/ 10896551 w 12192000"/>
              <a:gd name="connsiteY100" fmla="*/ 1244648 h 6858000"/>
              <a:gd name="connsiteX101" fmla="*/ 11064922 w 12192000"/>
              <a:gd name="connsiteY101" fmla="*/ 1244648 h 6858000"/>
              <a:gd name="connsiteX102" fmla="*/ 11064922 w 12192000"/>
              <a:gd name="connsiteY102" fmla="*/ 1239125 h 6858000"/>
              <a:gd name="connsiteX103" fmla="*/ 10936498 w 12192000"/>
              <a:gd name="connsiteY103" fmla="*/ 1103918 h 6858000"/>
              <a:gd name="connsiteX104" fmla="*/ 11328404 w 12192000"/>
              <a:gd name="connsiteY104" fmla="*/ 1029276 h 6858000"/>
              <a:gd name="connsiteX105" fmla="*/ 11320841 w 12192000"/>
              <a:gd name="connsiteY105" fmla="*/ 1036839 h 6858000"/>
              <a:gd name="connsiteX106" fmla="*/ 11320841 w 12192000"/>
              <a:gd name="connsiteY106" fmla="*/ 1092843 h 6858000"/>
              <a:gd name="connsiteX107" fmla="*/ 11328404 w 12192000"/>
              <a:gd name="connsiteY107" fmla="*/ 1100436 h 6858000"/>
              <a:gd name="connsiteX108" fmla="*/ 11384288 w 12192000"/>
              <a:gd name="connsiteY108" fmla="*/ 1100436 h 6858000"/>
              <a:gd name="connsiteX109" fmla="*/ 11391881 w 12192000"/>
              <a:gd name="connsiteY109" fmla="*/ 1092873 h 6858000"/>
              <a:gd name="connsiteX110" fmla="*/ 11391881 w 12192000"/>
              <a:gd name="connsiteY110" fmla="*/ 1036839 h 6858000"/>
              <a:gd name="connsiteX111" fmla="*/ 11384288 w 12192000"/>
              <a:gd name="connsiteY111" fmla="*/ 1029276 h 6858000"/>
              <a:gd name="connsiteX112" fmla="*/ 11429547 w 12192000"/>
              <a:gd name="connsiteY112" fmla="*/ 1029246 h 6858000"/>
              <a:gd name="connsiteX113" fmla="*/ 11421954 w 12192000"/>
              <a:gd name="connsiteY113" fmla="*/ 1036809 h 6858000"/>
              <a:gd name="connsiteX114" fmla="*/ 11421954 w 12192000"/>
              <a:gd name="connsiteY114" fmla="*/ 1163973 h 6858000"/>
              <a:gd name="connsiteX115" fmla="*/ 11429547 w 12192000"/>
              <a:gd name="connsiteY115" fmla="*/ 1171566 h 6858000"/>
              <a:gd name="connsiteX116" fmla="*/ 11556681 w 12192000"/>
              <a:gd name="connsiteY116" fmla="*/ 1171566 h 6858000"/>
              <a:gd name="connsiteX117" fmla="*/ 11564244 w 12192000"/>
              <a:gd name="connsiteY117" fmla="*/ 1163973 h 6858000"/>
              <a:gd name="connsiteX118" fmla="*/ 11564244 w 12192000"/>
              <a:gd name="connsiteY118" fmla="*/ 1036809 h 6858000"/>
              <a:gd name="connsiteX119" fmla="*/ 11556681 w 12192000"/>
              <a:gd name="connsiteY119" fmla="*/ 1029246 h 6858000"/>
              <a:gd name="connsiteX120" fmla="*/ 11257184 w 12192000"/>
              <a:gd name="connsiteY120" fmla="*/ 856823 h 6858000"/>
              <a:gd name="connsiteX121" fmla="*/ 11249591 w 12192000"/>
              <a:gd name="connsiteY121" fmla="*/ 864416 h 6858000"/>
              <a:gd name="connsiteX122" fmla="*/ 11249591 w 12192000"/>
              <a:gd name="connsiteY122" fmla="*/ 991550 h 6858000"/>
              <a:gd name="connsiteX123" fmla="*/ 11257184 w 12192000"/>
              <a:gd name="connsiteY123" fmla="*/ 999143 h 6858000"/>
              <a:gd name="connsiteX124" fmla="*/ 11384318 w 12192000"/>
              <a:gd name="connsiteY124" fmla="*/ 999143 h 6858000"/>
              <a:gd name="connsiteX125" fmla="*/ 11391911 w 12192000"/>
              <a:gd name="connsiteY125" fmla="*/ 991550 h 6858000"/>
              <a:gd name="connsiteX126" fmla="*/ 11391911 w 12192000"/>
              <a:gd name="connsiteY126" fmla="*/ 864416 h 6858000"/>
              <a:gd name="connsiteX127" fmla="*/ 11384318 w 12192000"/>
              <a:gd name="connsiteY127" fmla="*/ 856823 h 6858000"/>
              <a:gd name="connsiteX128" fmla="*/ 11429457 w 12192000"/>
              <a:gd name="connsiteY128" fmla="*/ 767925 h 6858000"/>
              <a:gd name="connsiteX129" fmla="*/ 11421864 w 12192000"/>
              <a:gd name="connsiteY129" fmla="*/ 775518 h 6858000"/>
              <a:gd name="connsiteX130" fmla="*/ 11421924 w 12192000"/>
              <a:gd name="connsiteY130" fmla="*/ 991550 h 6858000"/>
              <a:gd name="connsiteX131" fmla="*/ 11429517 w 12192000"/>
              <a:gd name="connsiteY131" fmla="*/ 999143 h 6858000"/>
              <a:gd name="connsiteX132" fmla="*/ 11645609 w 12192000"/>
              <a:gd name="connsiteY132" fmla="*/ 999143 h 6858000"/>
              <a:gd name="connsiteX133" fmla="*/ 11653202 w 12192000"/>
              <a:gd name="connsiteY133" fmla="*/ 991550 h 6858000"/>
              <a:gd name="connsiteX134" fmla="*/ 11653202 w 12192000"/>
              <a:gd name="connsiteY134" fmla="*/ 883564 h 6858000"/>
              <a:gd name="connsiteX135" fmla="*/ 11537533 w 12192000"/>
              <a:gd name="connsiteY135" fmla="*/ 767925 h 6858000"/>
              <a:gd name="connsiteX136" fmla="*/ 4860000 w 12192000"/>
              <a:gd name="connsiteY136" fmla="*/ 0 h 6858000"/>
              <a:gd name="connsiteX137" fmla="*/ 12192000 w 12192000"/>
              <a:gd name="connsiteY137" fmla="*/ 0 h 6858000"/>
              <a:gd name="connsiteX138" fmla="*/ 12192000 w 12192000"/>
              <a:gd name="connsiteY138" fmla="*/ 6858000 h 6858000"/>
              <a:gd name="connsiteX139" fmla="*/ 0 w 12192000"/>
              <a:gd name="connsiteY139" fmla="*/ 6858000 h 6858000"/>
              <a:gd name="connsiteX140" fmla="*/ 0 w 12192000"/>
              <a:gd name="connsiteY140" fmla="*/ 4644000 h 6858000"/>
              <a:gd name="connsiteX141" fmla="*/ 4860000 w 12192000"/>
              <a:gd name="connsiteY141" fmla="*/ 4644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2192000" h="6858000">
                <a:moveTo>
                  <a:pt x="10034885" y="1173187"/>
                </a:moveTo>
                <a:cubicBezTo>
                  <a:pt x="10059556" y="1173187"/>
                  <a:pt x="10071020" y="1190204"/>
                  <a:pt x="10071020" y="1225500"/>
                </a:cubicBezTo>
                <a:cubicBezTo>
                  <a:pt x="10071020" y="1260795"/>
                  <a:pt x="10058265" y="1276551"/>
                  <a:pt x="10034015" y="1276551"/>
                </a:cubicBezTo>
                <a:cubicBezTo>
                  <a:pt x="10009374" y="1276551"/>
                  <a:pt x="9997039" y="1259534"/>
                  <a:pt x="9997039" y="1225500"/>
                </a:cubicBezTo>
                <a:cubicBezTo>
                  <a:pt x="9997039" y="1189784"/>
                  <a:pt x="10008084" y="1173187"/>
                  <a:pt x="10034885" y="1173187"/>
                </a:cubicBezTo>
                <a:close/>
                <a:moveTo>
                  <a:pt x="10300888" y="1166404"/>
                </a:moveTo>
                <a:cubicBezTo>
                  <a:pt x="10328110" y="1166404"/>
                  <a:pt x="10338314" y="1184712"/>
                  <a:pt x="10338314" y="1224659"/>
                </a:cubicBezTo>
                <a:cubicBezTo>
                  <a:pt x="10338314" y="1264606"/>
                  <a:pt x="10328110" y="1283334"/>
                  <a:pt x="10300888" y="1283334"/>
                </a:cubicBezTo>
                <a:cubicBezTo>
                  <a:pt x="10273666" y="1283334"/>
                  <a:pt x="10263882" y="1264636"/>
                  <a:pt x="10263882" y="1224659"/>
                </a:cubicBezTo>
                <a:cubicBezTo>
                  <a:pt x="10263882" y="1184682"/>
                  <a:pt x="10273666" y="1166404"/>
                  <a:pt x="10300888" y="1166404"/>
                </a:cubicBezTo>
                <a:close/>
                <a:moveTo>
                  <a:pt x="9339940" y="1157461"/>
                </a:moveTo>
                <a:cubicBezTo>
                  <a:pt x="9365451" y="1157461"/>
                  <a:pt x="9379046" y="1171506"/>
                  <a:pt x="9380757" y="1199568"/>
                </a:cubicBezTo>
                <a:lnTo>
                  <a:pt x="9300833" y="1199568"/>
                </a:lnTo>
                <a:cubicBezTo>
                  <a:pt x="9302064" y="1172797"/>
                  <a:pt x="9316560" y="1157461"/>
                  <a:pt x="9339940" y="1157461"/>
                </a:cubicBezTo>
                <a:close/>
                <a:moveTo>
                  <a:pt x="10935718" y="1157431"/>
                </a:moveTo>
                <a:cubicBezTo>
                  <a:pt x="10961228" y="1157431"/>
                  <a:pt x="10974824" y="1171477"/>
                  <a:pt x="10976535" y="1199538"/>
                </a:cubicBezTo>
                <a:lnTo>
                  <a:pt x="10896611" y="1199538"/>
                </a:lnTo>
                <a:cubicBezTo>
                  <a:pt x="10897842" y="1172767"/>
                  <a:pt x="10912338" y="1157431"/>
                  <a:pt x="10935718" y="1157431"/>
                </a:cubicBezTo>
                <a:close/>
                <a:moveTo>
                  <a:pt x="10423850" y="1111961"/>
                </a:moveTo>
                <a:lnTo>
                  <a:pt x="10498282" y="1337777"/>
                </a:lnTo>
                <a:lnTo>
                  <a:pt x="10586279" y="1337777"/>
                </a:lnTo>
                <a:lnTo>
                  <a:pt x="10619053" y="1207222"/>
                </a:lnTo>
                <a:lnTo>
                  <a:pt x="10651767" y="1337777"/>
                </a:lnTo>
                <a:lnTo>
                  <a:pt x="10739794" y="1337777"/>
                </a:lnTo>
                <a:lnTo>
                  <a:pt x="10810774" y="1111961"/>
                </a:lnTo>
                <a:lnTo>
                  <a:pt x="10725358" y="1111961"/>
                </a:lnTo>
                <a:lnTo>
                  <a:pt x="10691774" y="1249750"/>
                </a:lnTo>
                <a:lnTo>
                  <a:pt x="10656899" y="1111961"/>
                </a:lnTo>
                <a:lnTo>
                  <a:pt x="10581207" y="1111961"/>
                </a:lnTo>
                <a:lnTo>
                  <a:pt x="10546332" y="1249750"/>
                </a:lnTo>
                <a:lnTo>
                  <a:pt x="10512718" y="1111961"/>
                </a:lnTo>
                <a:close/>
                <a:moveTo>
                  <a:pt x="10062497" y="1106019"/>
                </a:moveTo>
                <a:cubicBezTo>
                  <a:pt x="10030203" y="1106019"/>
                  <a:pt x="10007243" y="1116643"/>
                  <a:pt x="9989386" y="1140894"/>
                </a:cubicBezTo>
                <a:lnTo>
                  <a:pt x="9989386" y="1111961"/>
                </a:lnTo>
                <a:lnTo>
                  <a:pt x="9909882" y="1111961"/>
                </a:lnTo>
                <a:lnTo>
                  <a:pt x="9909882" y="1428325"/>
                </a:lnTo>
                <a:lnTo>
                  <a:pt x="9997039" y="1428325"/>
                </a:lnTo>
                <a:lnTo>
                  <a:pt x="9997039" y="1316498"/>
                </a:lnTo>
                <a:cubicBezTo>
                  <a:pt x="10012766" y="1336486"/>
                  <a:pt x="10033174" y="1345400"/>
                  <a:pt x="10060816" y="1345400"/>
                </a:cubicBezTo>
                <a:cubicBezTo>
                  <a:pt x="10121202" y="1345400"/>
                  <a:pt x="10160758" y="1299031"/>
                  <a:pt x="10160758" y="1225500"/>
                </a:cubicBezTo>
                <a:cubicBezTo>
                  <a:pt x="10160758" y="1151968"/>
                  <a:pt x="10119941" y="1106019"/>
                  <a:pt x="10062526" y="1106019"/>
                </a:cubicBezTo>
                <a:close/>
                <a:moveTo>
                  <a:pt x="11241367" y="1105989"/>
                </a:moveTo>
                <a:cubicBezTo>
                  <a:pt x="11204782" y="1105989"/>
                  <a:pt x="11183113" y="1120005"/>
                  <a:pt x="11171197" y="1153199"/>
                </a:cubicBezTo>
                <a:lnTo>
                  <a:pt x="11171197" y="1111931"/>
                </a:lnTo>
                <a:lnTo>
                  <a:pt x="11088272" y="1111931"/>
                </a:lnTo>
                <a:lnTo>
                  <a:pt x="11088272" y="1337747"/>
                </a:lnTo>
                <a:lnTo>
                  <a:pt x="11178401" y="1337747"/>
                </a:lnTo>
                <a:lnTo>
                  <a:pt x="11178401" y="1245068"/>
                </a:lnTo>
                <a:cubicBezTo>
                  <a:pt x="11178401" y="1210193"/>
                  <a:pt x="11194998" y="1194436"/>
                  <a:pt x="11231133" y="1194436"/>
                </a:cubicBezTo>
                <a:cubicBezTo>
                  <a:pt x="11236655" y="1194436"/>
                  <a:pt x="11242628" y="1194887"/>
                  <a:pt x="11249441" y="1195727"/>
                </a:cubicBezTo>
                <a:lnTo>
                  <a:pt x="11249441" y="1105989"/>
                </a:lnTo>
                <a:close/>
                <a:moveTo>
                  <a:pt x="9794543" y="1104818"/>
                </a:moveTo>
                <a:cubicBezTo>
                  <a:pt x="9778276" y="1104818"/>
                  <a:pt x="9763660" y="1108030"/>
                  <a:pt x="9750724" y="1114392"/>
                </a:cubicBezTo>
                <a:cubicBezTo>
                  <a:pt x="9737759" y="1120785"/>
                  <a:pt x="9725844" y="1130779"/>
                  <a:pt x="9714949" y="1144375"/>
                </a:cubicBezTo>
                <a:cubicBezTo>
                  <a:pt x="9706545" y="1130779"/>
                  <a:pt x="9697002" y="1120845"/>
                  <a:pt x="9686317" y="1114602"/>
                </a:cubicBezTo>
                <a:cubicBezTo>
                  <a:pt x="9675632" y="1108360"/>
                  <a:pt x="9662907" y="1105238"/>
                  <a:pt x="9648171" y="1105238"/>
                </a:cubicBezTo>
                <a:cubicBezTo>
                  <a:pt x="9632054" y="1105238"/>
                  <a:pt x="9617768" y="1108420"/>
                  <a:pt x="9605372" y="1114813"/>
                </a:cubicBezTo>
                <a:cubicBezTo>
                  <a:pt x="9592977" y="1121205"/>
                  <a:pt x="9581812" y="1131049"/>
                  <a:pt x="9571878" y="1144405"/>
                </a:cubicBezTo>
                <a:lnTo>
                  <a:pt x="9571878" y="1111301"/>
                </a:lnTo>
                <a:lnTo>
                  <a:pt x="9490634" y="1111301"/>
                </a:lnTo>
                <a:lnTo>
                  <a:pt x="9490634" y="1337777"/>
                </a:lnTo>
                <a:lnTo>
                  <a:pt x="9578721" y="1337777"/>
                </a:lnTo>
                <a:lnTo>
                  <a:pt x="9578721" y="1216105"/>
                </a:lnTo>
                <a:cubicBezTo>
                  <a:pt x="9578721" y="1203050"/>
                  <a:pt x="9581302" y="1193116"/>
                  <a:pt x="9586464" y="1186303"/>
                </a:cubicBezTo>
                <a:cubicBezTo>
                  <a:pt x="9591627" y="1179490"/>
                  <a:pt x="9599190" y="1176098"/>
                  <a:pt x="9609094" y="1176098"/>
                </a:cubicBezTo>
                <a:cubicBezTo>
                  <a:pt x="9620259" y="1176098"/>
                  <a:pt x="9628272" y="1179460"/>
                  <a:pt x="9633164" y="1186213"/>
                </a:cubicBezTo>
                <a:cubicBezTo>
                  <a:pt x="9638056" y="1192966"/>
                  <a:pt x="9640517" y="1204100"/>
                  <a:pt x="9640517" y="1219647"/>
                </a:cubicBezTo>
                <a:lnTo>
                  <a:pt x="9640517" y="1337777"/>
                </a:lnTo>
                <a:lnTo>
                  <a:pt x="9728184" y="1337777"/>
                </a:lnTo>
                <a:lnTo>
                  <a:pt x="9728184" y="1217366"/>
                </a:lnTo>
                <a:cubicBezTo>
                  <a:pt x="9728184" y="1203200"/>
                  <a:pt x="9730736" y="1192786"/>
                  <a:pt x="9735838" y="1186123"/>
                </a:cubicBezTo>
                <a:cubicBezTo>
                  <a:pt x="9740940" y="1179460"/>
                  <a:pt x="9748923" y="1176098"/>
                  <a:pt x="9759818" y="1176098"/>
                </a:cubicBezTo>
                <a:cubicBezTo>
                  <a:pt x="9770713" y="1176098"/>
                  <a:pt x="9778126" y="1179310"/>
                  <a:pt x="9782868" y="1185703"/>
                </a:cubicBezTo>
                <a:cubicBezTo>
                  <a:pt x="9787610" y="1192095"/>
                  <a:pt x="9790011" y="1202360"/>
                  <a:pt x="9790011" y="1216526"/>
                </a:cubicBezTo>
                <a:lnTo>
                  <a:pt x="9790011" y="1337777"/>
                </a:lnTo>
                <a:lnTo>
                  <a:pt x="9878068" y="1337777"/>
                </a:lnTo>
                <a:lnTo>
                  <a:pt x="9878068" y="1183392"/>
                </a:lnTo>
                <a:cubicBezTo>
                  <a:pt x="9878068" y="1158541"/>
                  <a:pt x="9870775" y="1139213"/>
                  <a:pt x="9856159" y="1125467"/>
                </a:cubicBezTo>
                <a:cubicBezTo>
                  <a:pt x="9841543" y="1111721"/>
                  <a:pt x="9821014" y="1104848"/>
                  <a:pt x="9794543" y="1104848"/>
                </a:cubicBezTo>
                <a:close/>
                <a:moveTo>
                  <a:pt x="10300888" y="1103918"/>
                </a:moveTo>
                <a:cubicBezTo>
                  <a:pt x="10221384" y="1103918"/>
                  <a:pt x="10173334" y="1149807"/>
                  <a:pt x="10173334" y="1224659"/>
                </a:cubicBezTo>
                <a:cubicBezTo>
                  <a:pt x="10173334" y="1299511"/>
                  <a:pt x="10221384" y="1345850"/>
                  <a:pt x="10300888" y="1345850"/>
                </a:cubicBezTo>
                <a:cubicBezTo>
                  <a:pt x="10380392" y="1345850"/>
                  <a:pt x="10428442" y="1299511"/>
                  <a:pt x="10428442" y="1224659"/>
                </a:cubicBezTo>
                <a:cubicBezTo>
                  <a:pt x="10428442" y="1149807"/>
                  <a:pt x="10380392" y="1103918"/>
                  <a:pt x="10300888" y="1103918"/>
                </a:cubicBezTo>
                <a:close/>
                <a:moveTo>
                  <a:pt x="9340780" y="1103918"/>
                </a:moveTo>
                <a:cubicBezTo>
                  <a:pt x="9260436" y="1103918"/>
                  <a:pt x="9211095" y="1151098"/>
                  <a:pt x="9211095" y="1226790"/>
                </a:cubicBezTo>
                <a:cubicBezTo>
                  <a:pt x="9211095" y="1302482"/>
                  <a:pt x="9259145" y="1345850"/>
                  <a:pt x="9337359" y="1345850"/>
                </a:cubicBezTo>
                <a:cubicBezTo>
                  <a:pt x="9407108" y="1345850"/>
                  <a:pt x="9449636" y="1319919"/>
                  <a:pt x="9461942" y="1271029"/>
                </a:cubicBezTo>
                <a:lnTo>
                  <a:pt x="9376045" y="1271029"/>
                </a:lnTo>
                <a:cubicBezTo>
                  <a:pt x="9371783" y="1282944"/>
                  <a:pt x="9359898" y="1289757"/>
                  <a:pt x="9342431" y="1289757"/>
                </a:cubicBezTo>
                <a:cubicBezTo>
                  <a:pt x="9316500" y="1289757"/>
                  <a:pt x="9301613" y="1273610"/>
                  <a:pt x="9300773" y="1244677"/>
                </a:cubicBezTo>
                <a:lnTo>
                  <a:pt x="9469144" y="1244677"/>
                </a:lnTo>
                <a:lnTo>
                  <a:pt x="9469144" y="1239155"/>
                </a:lnTo>
                <a:cubicBezTo>
                  <a:pt x="9469144" y="1154099"/>
                  <a:pt x="9420674" y="1103948"/>
                  <a:pt x="9340720" y="1103948"/>
                </a:cubicBezTo>
                <a:close/>
                <a:moveTo>
                  <a:pt x="10936558" y="1103888"/>
                </a:moveTo>
                <a:cubicBezTo>
                  <a:pt x="10856214" y="1103888"/>
                  <a:pt x="10806873" y="1151068"/>
                  <a:pt x="10806873" y="1226760"/>
                </a:cubicBezTo>
                <a:cubicBezTo>
                  <a:pt x="10806873" y="1302452"/>
                  <a:pt x="10854923" y="1345821"/>
                  <a:pt x="10933136" y="1345821"/>
                </a:cubicBezTo>
                <a:cubicBezTo>
                  <a:pt x="11002886" y="1345821"/>
                  <a:pt x="11045414" y="1319890"/>
                  <a:pt x="11057719" y="1270999"/>
                </a:cubicBezTo>
                <a:lnTo>
                  <a:pt x="10971823" y="1270999"/>
                </a:lnTo>
                <a:cubicBezTo>
                  <a:pt x="10967561" y="1282914"/>
                  <a:pt x="10955646" y="1289727"/>
                  <a:pt x="10938209" y="1289727"/>
                </a:cubicBezTo>
                <a:cubicBezTo>
                  <a:pt x="10912278" y="1289727"/>
                  <a:pt x="10897391" y="1273580"/>
                  <a:pt x="10896551" y="1244648"/>
                </a:cubicBezTo>
                <a:lnTo>
                  <a:pt x="11064922" y="1244648"/>
                </a:lnTo>
                <a:lnTo>
                  <a:pt x="11064922" y="1239125"/>
                </a:lnTo>
                <a:cubicBezTo>
                  <a:pt x="11064922" y="1154069"/>
                  <a:pt x="11016452" y="1103918"/>
                  <a:pt x="10936498" y="1103918"/>
                </a:cubicBezTo>
                <a:close/>
                <a:moveTo>
                  <a:pt x="11328404" y="1029276"/>
                </a:moveTo>
                <a:lnTo>
                  <a:pt x="11320841" y="1036839"/>
                </a:lnTo>
                <a:lnTo>
                  <a:pt x="11320841" y="1092843"/>
                </a:lnTo>
                <a:lnTo>
                  <a:pt x="11328404" y="1100436"/>
                </a:lnTo>
                <a:lnTo>
                  <a:pt x="11384288" y="1100436"/>
                </a:lnTo>
                <a:lnTo>
                  <a:pt x="11391881" y="1092873"/>
                </a:lnTo>
                <a:lnTo>
                  <a:pt x="11391881" y="1036839"/>
                </a:lnTo>
                <a:lnTo>
                  <a:pt x="11384288" y="1029276"/>
                </a:lnTo>
                <a:close/>
                <a:moveTo>
                  <a:pt x="11429547" y="1029246"/>
                </a:moveTo>
                <a:lnTo>
                  <a:pt x="11421954" y="1036809"/>
                </a:lnTo>
                <a:lnTo>
                  <a:pt x="11421954" y="1163973"/>
                </a:lnTo>
                <a:lnTo>
                  <a:pt x="11429547" y="1171566"/>
                </a:lnTo>
                <a:lnTo>
                  <a:pt x="11556681" y="1171566"/>
                </a:lnTo>
                <a:lnTo>
                  <a:pt x="11564244" y="1163973"/>
                </a:lnTo>
                <a:lnTo>
                  <a:pt x="11564244" y="1036809"/>
                </a:lnTo>
                <a:lnTo>
                  <a:pt x="11556681" y="1029246"/>
                </a:lnTo>
                <a:close/>
                <a:moveTo>
                  <a:pt x="11257184" y="856823"/>
                </a:moveTo>
                <a:lnTo>
                  <a:pt x="11249591" y="864416"/>
                </a:lnTo>
                <a:lnTo>
                  <a:pt x="11249591" y="991550"/>
                </a:lnTo>
                <a:lnTo>
                  <a:pt x="11257184" y="999143"/>
                </a:lnTo>
                <a:lnTo>
                  <a:pt x="11384318" y="999143"/>
                </a:lnTo>
                <a:lnTo>
                  <a:pt x="11391911" y="991550"/>
                </a:lnTo>
                <a:lnTo>
                  <a:pt x="11391911" y="864416"/>
                </a:lnTo>
                <a:lnTo>
                  <a:pt x="11384318" y="856823"/>
                </a:lnTo>
                <a:close/>
                <a:moveTo>
                  <a:pt x="11429457" y="767925"/>
                </a:moveTo>
                <a:lnTo>
                  <a:pt x="11421864" y="775518"/>
                </a:lnTo>
                <a:lnTo>
                  <a:pt x="11421924" y="991550"/>
                </a:lnTo>
                <a:lnTo>
                  <a:pt x="11429517" y="999143"/>
                </a:lnTo>
                <a:lnTo>
                  <a:pt x="11645609" y="999143"/>
                </a:lnTo>
                <a:lnTo>
                  <a:pt x="11653202" y="991550"/>
                </a:lnTo>
                <a:lnTo>
                  <a:pt x="11653202" y="883564"/>
                </a:lnTo>
                <a:lnTo>
                  <a:pt x="11537533" y="767925"/>
                </a:lnTo>
                <a:close/>
                <a:moveTo>
                  <a:pt x="4860000" y="0"/>
                </a:moveTo>
                <a:lnTo>
                  <a:pt x="12192000" y="0"/>
                </a:lnTo>
                <a:lnTo>
                  <a:pt x="12192000" y="6858000"/>
                </a:lnTo>
                <a:lnTo>
                  <a:pt x="0" y="6858000"/>
                </a:lnTo>
                <a:lnTo>
                  <a:pt x="0" y="4644000"/>
                </a:lnTo>
                <a:lnTo>
                  <a:pt x="4860000" y="4644000"/>
                </a:lnTo>
                <a:close/>
              </a:path>
            </a:pathLst>
          </a:custGeom>
        </p:spPr>
        <p:txBody>
          <a:bodyPr wrap="square">
            <a:noAutofit/>
          </a:bodyPr>
          <a:lstStyle>
            <a:lvl1pPr algn="ctr">
              <a:defRPr/>
            </a:lvl1pPr>
          </a:lstStyle>
          <a:p>
            <a:r>
              <a:rPr lang="en-US"/>
              <a:t>Click icon to add picture</a:t>
            </a:r>
            <a:endParaRPr lang="en-GB"/>
          </a:p>
        </p:txBody>
      </p:sp>
      <p:sp>
        <p:nvSpPr>
          <p:cNvPr id="4" name="Orange Block">
            <a:extLst>
              <a:ext uri="{FF2B5EF4-FFF2-40B4-BE49-F238E27FC236}">
                <a16:creationId xmlns:a16="http://schemas.microsoft.com/office/drawing/2014/main" id="{DB0B598B-C9D6-DAE8-E909-26110C40CEA7}"/>
              </a:ext>
            </a:extLst>
          </p:cNvPr>
          <p:cNvSpPr/>
          <p:nvPr/>
        </p:nvSpPr>
        <p:spPr bwMode="white">
          <a:xfrm>
            <a:off x="0" y="-1"/>
            <a:ext cx="4876800" cy="4680000"/>
          </a:xfrm>
          <a:prstGeom prst="rect">
            <a:avLst/>
          </a:prstGeom>
          <a:gradFill>
            <a:gsLst>
              <a:gs pos="35000">
                <a:srgbClr val="E65A03"/>
              </a:gs>
              <a:gs pos="100000">
                <a:srgbClr val="F07900"/>
              </a:gs>
              <a:gs pos="0">
                <a:srgbClr val="E55703"/>
              </a:gs>
            </a:gsLst>
            <a:lin ang="18900000" scaled="0"/>
          </a:gradFill>
          <a:ln w="12700" cap="flat" cmpd="sng" algn="ctr">
            <a:noFill/>
            <a:prstDash val="solid"/>
            <a:miter lim="800000"/>
          </a:ln>
          <a:effectLst/>
        </p:spPr>
        <p:txBody>
          <a:bodyPr rtlCol="0" anchor="ctr"/>
          <a:lstStyle/>
          <a:p>
            <a:pPr marR="0" lvl="0" algn="ctr" defTabSz="914400" fontAlgn="auto">
              <a:lnSpc>
                <a:spcPct val="100000"/>
              </a:lnSpc>
              <a:spcAft>
                <a:spcPct val="0"/>
              </a:spcAft>
              <a:buClrTx/>
              <a:buSzTx/>
            </a:pPr>
            <a:endParaRPr kumimoji="0" lang="en-PT" b="0" i="0" u="none" strike="noStrike" kern="0" cap="none" spc="0" normalizeH="0">
              <a:ln>
                <a:noFill/>
              </a:ln>
              <a:solidFill>
                <a:srgbClr val="FFFFFF"/>
              </a:solidFill>
              <a:effectLst/>
              <a:uLnTx/>
              <a:uFillTx/>
              <a:latin typeface="Segoe UI"/>
            </a:endParaRPr>
          </a:p>
        </p:txBody>
      </p:sp>
      <p:sp>
        <p:nvSpPr>
          <p:cNvPr id="6" name="Squiggle 2">
            <a:extLst>
              <a:ext uri="{FF2B5EF4-FFF2-40B4-BE49-F238E27FC236}">
                <a16:creationId xmlns:a16="http://schemas.microsoft.com/office/drawing/2014/main" id="{4F9839D8-DD34-BF32-8C9A-D4A351E9EF3D}"/>
              </a:ext>
            </a:extLst>
          </p:cNvPr>
          <p:cNvSpPr/>
          <p:nvPr/>
        </p:nvSpPr>
        <p:spPr>
          <a:xfrm>
            <a:off x="406400" y="1949493"/>
            <a:ext cx="4458342" cy="2730506"/>
          </a:xfrm>
          <a:custGeom>
            <a:avLst/>
            <a:gdLst>
              <a:gd name="connsiteX0" fmla="*/ 4458342 w 4458342"/>
              <a:gd name="connsiteY0" fmla="*/ 68 h 2730506"/>
              <a:gd name="connsiteX1" fmla="*/ 4448817 w 4458342"/>
              <a:gd name="connsiteY1" fmla="*/ 2721043 h 2730506"/>
              <a:gd name="connsiteX2" fmla="*/ 4174621 w 4458342"/>
              <a:gd name="connsiteY2" fmla="*/ 2728793 h 2730506"/>
              <a:gd name="connsiteX3" fmla="*/ 4144911 w 4458342"/>
              <a:gd name="connsiteY3" fmla="*/ 2730506 h 2730506"/>
              <a:gd name="connsiteX4" fmla="*/ 2623679 w 4458342"/>
              <a:gd name="connsiteY4" fmla="*/ 2730506 h 2730506"/>
              <a:gd name="connsiteX5" fmla="*/ 2661479 w 4458342"/>
              <a:gd name="connsiteY5" fmla="*/ 2630001 h 2730506"/>
              <a:gd name="connsiteX6" fmla="*/ 3376488 w 4458342"/>
              <a:gd name="connsiteY6" fmla="*/ 1150378 h 2730506"/>
              <a:gd name="connsiteX7" fmla="*/ 2275273 w 4458342"/>
              <a:gd name="connsiteY7" fmla="*/ 1976289 h 2730506"/>
              <a:gd name="connsiteX8" fmla="*/ 1294379 w 4458342"/>
              <a:gd name="connsiteY8" fmla="*/ 2730506 h 2730506"/>
              <a:gd name="connsiteX9" fmla="*/ 0 w 4458342"/>
              <a:gd name="connsiteY9" fmla="*/ 2730506 h 2730506"/>
              <a:gd name="connsiteX10" fmla="*/ 74915 w 4458342"/>
              <a:gd name="connsiteY10" fmla="*/ 2634677 h 2730506"/>
              <a:gd name="connsiteX11" fmla="*/ 2197742 w 4458342"/>
              <a:gd name="connsiteY11" fmla="*/ 1114493 h 2730506"/>
              <a:gd name="connsiteX12" fmla="*/ 4458342 w 4458342"/>
              <a:gd name="connsiteY12" fmla="*/ 68 h 2730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58342" h="2730506">
                <a:moveTo>
                  <a:pt x="4458342" y="68"/>
                </a:moveTo>
                <a:lnTo>
                  <a:pt x="4448817" y="2721043"/>
                </a:lnTo>
                <a:cubicBezTo>
                  <a:pt x="4362232" y="2721837"/>
                  <a:pt x="4270538" y="2724522"/>
                  <a:pt x="4174621" y="2728793"/>
                </a:cubicBezTo>
                <a:lnTo>
                  <a:pt x="4144911" y="2730506"/>
                </a:lnTo>
                <a:lnTo>
                  <a:pt x="2623679" y="2730506"/>
                </a:lnTo>
                <a:lnTo>
                  <a:pt x="2661479" y="2630001"/>
                </a:lnTo>
                <a:cubicBezTo>
                  <a:pt x="2867822" y="2113582"/>
                  <a:pt x="3178614" y="1530354"/>
                  <a:pt x="3376488" y="1150378"/>
                </a:cubicBezTo>
                <a:lnTo>
                  <a:pt x="2275273" y="1976289"/>
                </a:lnTo>
                <a:lnTo>
                  <a:pt x="1294379" y="2730506"/>
                </a:lnTo>
                <a:lnTo>
                  <a:pt x="0" y="2730506"/>
                </a:lnTo>
                <a:lnTo>
                  <a:pt x="74915" y="2634677"/>
                </a:lnTo>
                <a:cubicBezTo>
                  <a:pt x="465021" y="2199819"/>
                  <a:pt x="1632451" y="1506964"/>
                  <a:pt x="2197742" y="1114493"/>
                </a:cubicBezTo>
                <a:cubicBezTo>
                  <a:pt x="2951463" y="591198"/>
                  <a:pt x="4424475" y="-7340"/>
                  <a:pt x="4458342" y="68"/>
                </a:cubicBezTo>
                <a:close/>
              </a:path>
            </a:pathLst>
          </a:custGeom>
          <a:gradFill>
            <a:gsLst>
              <a:gs pos="70000">
                <a:srgbClr val="E86301"/>
              </a:gs>
              <a:gs pos="35000">
                <a:srgbClr val="E86101"/>
              </a:gs>
              <a:gs pos="100000">
                <a:srgbClr val="E86101"/>
              </a:gs>
              <a:gs pos="0">
                <a:srgbClr val="E86201"/>
              </a:gs>
            </a:gsLst>
            <a:lin ang="4200000" scaled="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Squiggle 1">
            <a:extLst>
              <a:ext uri="{FF2B5EF4-FFF2-40B4-BE49-F238E27FC236}">
                <a16:creationId xmlns:a16="http://schemas.microsoft.com/office/drawing/2014/main" id="{C37ACE55-304C-EC98-D7F7-78C4D2DAA204}"/>
              </a:ext>
            </a:extLst>
          </p:cNvPr>
          <p:cNvSpPr/>
          <p:nvPr/>
        </p:nvSpPr>
        <p:spPr>
          <a:xfrm>
            <a:off x="12700" y="12700"/>
            <a:ext cx="3143251" cy="4076700"/>
          </a:xfrm>
          <a:custGeom>
            <a:avLst/>
            <a:gdLst>
              <a:gd name="connsiteX0" fmla="*/ 0 w 3143251"/>
              <a:gd name="connsiteY0" fmla="*/ 0 h 4076700"/>
              <a:gd name="connsiteX1" fmla="*/ 3143251 w 3143251"/>
              <a:gd name="connsiteY1" fmla="*/ 0 h 4076700"/>
              <a:gd name="connsiteX2" fmla="*/ 1743076 w 3143251"/>
              <a:gd name="connsiteY2" fmla="*/ 1943100 h 4076700"/>
              <a:gd name="connsiteX3" fmla="*/ 0 w 3143251"/>
              <a:gd name="connsiteY3" fmla="*/ 4076700 h 4076700"/>
              <a:gd name="connsiteX4" fmla="*/ 0 w 3143251"/>
              <a:gd name="connsiteY4" fmla="*/ 2040508 h 4076700"/>
              <a:gd name="connsiteX5" fmla="*/ 21267 w 3143251"/>
              <a:gd name="connsiteY5" fmla="*/ 2008537 h 4076700"/>
              <a:gd name="connsiteX6" fmla="*/ 460479 w 3143251"/>
              <a:gd name="connsiteY6" fmla="*/ 1482537 h 4076700"/>
              <a:gd name="connsiteX7" fmla="*/ 10638 w 3143251"/>
              <a:gd name="connsiteY7" fmla="*/ 1717593 h 4076700"/>
              <a:gd name="connsiteX8" fmla="*/ 0 w 3143251"/>
              <a:gd name="connsiteY8" fmla="*/ 1722510 h 407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3251" h="4076700">
                <a:moveTo>
                  <a:pt x="0" y="0"/>
                </a:moveTo>
                <a:lnTo>
                  <a:pt x="3143251" y="0"/>
                </a:lnTo>
                <a:cubicBezTo>
                  <a:pt x="2781301" y="647700"/>
                  <a:pt x="2209801" y="1295400"/>
                  <a:pt x="1743076" y="1943100"/>
                </a:cubicBezTo>
                <a:cubicBezTo>
                  <a:pt x="1219201" y="2622550"/>
                  <a:pt x="871538" y="3009900"/>
                  <a:pt x="0" y="4076700"/>
                </a:cubicBezTo>
                <a:lnTo>
                  <a:pt x="0" y="2040508"/>
                </a:lnTo>
                <a:lnTo>
                  <a:pt x="21267" y="2008537"/>
                </a:lnTo>
                <a:cubicBezTo>
                  <a:pt x="166305" y="1796335"/>
                  <a:pt x="232480" y="1770389"/>
                  <a:pt x="460479" y="1482537"/>
                </a:cubicBezTo>
                <a:lnTo>
                  <a:pt x="10638" y="1717593"/>
                </a:lnTo>
                <a:lnTo>
                  <a:pt x="0" y="1722510"/>
                </a:lnTo>
                <a:close/>
              </a:path>
            </a:pathLst>
          </a:custGeom>
          <a:gradFill>
            <a:gsLst>
              <a:gs pos="70000">
                <a:srgbClr val="EB6A01"/>
              </a:gs>
              <a:gs pos="35000">
                <a:srgbClr val="EA6801"/>
              </a:gs>
              <a:gs pos="100000">
                <a:srgbClr val="EB6A01"/>
              </a:gs>
              <a:gs pos="0">
                <a:srgbClr val="EB6A01"/>
              </a:gs>
            </a:gsLst>
            <a:lin ang="4200000" scaled="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 name="Subtitle">
            <a:extLst>
              <a:ext uri="{FF2B5EF4-FFF2-40B4-BE49-F238E27FC236}">
                <a16:creationId xmlns:a16="http://schemas.microsoft.com/office/drawing/2014/main" id="{8ADB95D0-F1C8-516C-6D3E-5C2A67CD6FA3}"/>
              </a:ext>
            </a:extLst>
          </p:cNvPr>
          <p:cNvSpPr>
            <a:spLocks noGrp="1"/>
          </p:cNvSpPr>
          <p:nvPr>
            <p:ph type="subTitle" idx="1" hasCustomPrompt="1"/>
          </p:nvPr>
        </p:nvSpPr>
        <p:spPr>
          <a:xfrm>
            <a:off x="550800" y="3061072"/>
            <a:ext cx="3454400" cy="1016000"/>
          </a:xfrm>
          <a:prstGeom prst="rect">
            <a:avLst/>
          </a:prstGeom>
        </p:spPr>
        <p:txBody>
          <a:bodyPr anchor="t"/>
          <a:lstStyle>
            <a:lvl1pPr marL="0" indent="0" algn="l" defTabSz="203200" rtl="0" eaLnBrk="1" latinLnBrk="0" hangingPunct="1">
              <a:lnSpc>
                <a:spcPct val="90000"/>
              </a:lnSpc>
              <a:spcBef>
                <a:spcPct val="0"/>
              </a:spcBef>
              <a:spcAft>
                <a:spcPts val="600"/>
              </a:spcAft>
              <a:buFontTx/>
              <a:buNone/>
              <a:defRPr lang="en-US" sz="2400" kern="1200" baseline="0">
                <a:solidFill>
                  <a:schemeClr val="bg1"/>
                </a:solidFill>
                <a:latin typeface="+mn-lt"/>
                <a:ea typeface="+mn-ea"/>
                <a:cs typeface="+mn-cs"/>
              </a:defRPr>
            </a:lvl1pPr>
            <a:lvl2pPr marL="0" indent="0" algn="l">
              <a:lnSpc>
                <a:spcPct val="100000"/>
              </a:lnSpc>
              <a:spcBef>
                <a:spcPct val="0"/>
              </a:spcBef>
              <a:buNone/>
              <a:defRPr sz="14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a:t>
            </a:r>
            <a:br>
              <a:rPr lang="en-US"/>
            </a:br>
            <a:r>
              <a:rPr lang="en-US"/>
              <a:t>subtitle style</a:t>
            </a:r>
          </a:p>
        </p:txBody>
      </p:sp>
      <p:sp>
        <p:nvSpPr>
          <p:cNvPr id="7" name="Title">
            <a:extLst>
              <a:ext uri="{FF2B5EF4-FFF2-40B4-BE49-F238E27FC236}">
                <a16:creationId xmlns:a16="http://schemas.microsoft.com/office/drawing/2014/main" id="{4DD6E394-341A-C7EB-4850-A929E45D2FD5}"/>
              </a:ext>
            </a:extLst>
          </p:cNvPr>
          <p:cNvSpPr>
            <a:spLocks noGrp="1"/>
          </p:cNvSpPr>
          <p:nvPr>
            <p:ph type="title"/>
          </p:nvPr>
        </p:nvSpPr>
        <p:spPr>
          <a:xfrm>
            <a:off x="550800" y="838824"/>
            <a:ext cx="3454400" cy="2123658"/>
          </a:xfrm>
          <a:custGeom>
            <a:avLst/>
            <a:gdLst>
              <a:gd name="connsiteX0" fmla="*/ 0 w 8164842"/>
              <a:gd name="connsiteY0" fmla="*/ 0 h 1944775"/>
              <a:gd name="connsiteX1" fmla="*/ 8164842 w 8164842"/>
              <a:gd name="connsiteY1" fmla="*/ 0 h 1944775"/>
              <a:gd name="connsiteX2" fmla="*/ 8164842 w 8164842"/>
              <a:gd name="connsiteY2" fmla="*/ 1944775 h 1944775"/>
              <a:gd name="connsiteX3" fmla="*/ 0 w 8164842"/>
              <a:gd name="connsiteY3" fmla="*/ 1944775 h 1944775"/>
            </a:gdLst>
            <a:ahLst/>
            <a:cxnLst>
              <a:cxn ang="0">
                <a:pos x="connsiteX0" y="connsiteY0"/>
              </a:cxn>
              <a:cxn ang="0">
                <a:pos x="connsiteX1" y="connsiteY1"/>
              </a:cxn>
              <a:cxn ang="0">
                <a:pos x="connsiteX2" y="connsiteY2"/>
              </a:cxn>
              <a:cxn ang="0">
                <a:pos x="connsiteX3" y="connsiteY3"/>
              </a:cxn>
            </a:cxnLst>
            <a:rect l="l" t="t" r="r" b="b"/>
            <a:pathLst>
              <a:path w="8164842" h="1944775">
                <a:moveTo>
                  <a:pt x="0" y="0"/>
                </a:moveTo>
                <a:lnTo>
                  <a:pt x="8164842" y="0"/>
                </a:lnTo>
                <a:lnTo>
                  <a:pt x="8164842" y="1944775"/>
                </a:lnTo>
                <a:lnTo>
                  <a:pt x="0" y="1944775"/>
                </a:lnTo>
                <a:close/>
              </a:path>
            </a:pathLst>
          </a:custGeom>
        </p:spPr>
        <p:txBody>
          <a:bodyPr vert="horz" wrap="square" lIns="0" tIns="0" rIns="0" bIns="0" rtlCol="0" anchor="t" anchorCtr="0">
            <a:noAutofit/>
          </a:bodyPr>
          <a:lstStyle>
            <a:lvl1pPr algn="l">
              <a:lnSpc>
                <a:spcPct val="100000"/>
              </a:lnSpc>
              <a:defRPr lang="de-DE" sz="4600" b="0" i="0" spc="0" baseline="0">
                <a:solidFill>
                  <a:schemeClr val="bg1"/>
                </a:solidFill>
                <a:latin typeface="+mj-lt"/>
                <a:cs typeface="Segoe UI Semilight" panose="020B0502040204020203" pitchFamily="34" charset="0"/>
              </a:defRPr>
            </a:lvl1pPr>
          </a:lstStyle>
          <a:p>
            <a:pPr lvl="0"/>
            <a:r>
              <a:rPr lang="en-US" noProof="0"/>
              <a:t>Click to edit Master title style</a:t>
            </a:r>
            <a:endParaRPr lang="de-DE" noProof="0"/>
          </a:p>
        </p:txBody>
      </p:sp>
    </p:spTree>
    <p:extLst>
      <p:ext uri="{BB962C8B-B14F-4D97-AF65-F5344CB8AC3E}">
        <p14:creationId xmlns:p14="http://schemas.microsoft.com/office/powerpoint/2010/main" val="511143378"/>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Only - Grey">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0CF9F5-C8B9-4B02-B883-D4EBFC5AD801}"/>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86563993"/>
      </p:ext>
    </p:extLst>
  </p:cSld>
  <p:clrMapOvr>
    <a:overrideClrMapping bg1="lt1" tx1="dk1" bg2="lt2" tx2="dk2" accent1="accent1" accent2="accent2" accent3="accent3" accent4="accent4" accent5="accent5" accent6="accent6" hlink="hlink" folHlink="folHlink"/>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C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B528A10-E9D5-56B2-BAA2-A2CFEBBCA5B2}"/>
              </a:ext>
            </a:extLst>
          </p:cNvPr>
          <p:cNvSpPr>
            <a:spLocks noGrp="1"/>
          </p:cNvSpPr>
          <p:nvPr>
            <p:ph type="pic" sz="quarter" idx="10"/>
          </p:nvPr>
        </p:nvSpPr>
        <p:spPr>
          <a:xfrm>
            <a:off x="0" y="0"/>
            <a:ext cx="12192000" cy="6858000"/>
          </a:xfrm>
          <a:custGeom>
            <a:avLst/>
            <a:gdLst>
              <a:gd name="connsiteX0" fmla="*/ 10034885 w 12192000"/>
              <a:gd name="connsiteY0" fmla="*/ 1173187 h 6858000"/>
              <a:gd name="connsiteX1" fmla="*/ 10071020 w 12192000"/>
              <a:gd name="connsiteY1" fmla="*/ 1225500 h 6858000"/>
              <a:gd name="connsiteX2" fmla="*/ 10034015 w 12192000"/>
              <a:gd name="connsiteY2" fmla="*/ 1276551 h 6858000"/>
              <a:gd name="connsiteX3" fmla="*/ 9997039 w 12192000"/>
              <a:gd name="connsiteY3" fmla="*/ 1225500 h 6858000"/>
              <a:gd name="connsiteX4" fmla="*/ 10034885 w 12192000"/>
              <a:gd name="connsiteY4" fmla="*/ 1173187 h 6858000"/>
              <a:gd name="connsiteX5" fmla="*/ 10300888 w 12192000"/>
              <a:gd name="connsiteY5" fmla="*/ 1166404 h 6858000"/>
              <a:gd name="connsiteX6" fmla="*/ 10338314 w 12192000"/>
              <a:gd name="connsiteY6" fmla="*/ 1224659 h 6858000"/>
              <a:gd name="connsiteX7" fmla="*/ 10300888 w 12192000"/>
              <a:gd name="connsiteY7" fmla="*/ 1283334 h 6858000"/>
              <a:gd name="connsiteX8" fmla="*/ 10263882 w 12192000"/>
              <a:gd name="connsiteY8" fmla="*/ 1224659 h 6858000"/>
              <a:gd name="connsiteX9" fmla="*/ 10300888 w 12192000"/>
              <a:gd name="connsiteY9" fmla="*/ 1166404 h 6858000"/>
              <a:gd name="connsiteX10" fmla="*/ 9339940 w 12192000"/>
              <a:gd name="connsiteY10" fmla="*/ 1157461 h 6858000"/>
              <a:gd name="connsiteX11" fmla="*/ 9380757 w 12192000"/>
              <a:gd name="connsiteY11" fmla="*/ 1199568 h 6858000"/>
              <a:gd name="connsiteX12" fmla="*/ 9300833 w 12192000"/>
              <a:gd name="connsiteY12" fmla="*/ 1199568 h 6858000"/>
              <a:gd name="connsiteX13" fmla="*/ 9339940 w 12192000"/>
              <a:gd name="connsiteY13" fmla="*/ 1157461 h 6858000"/>
              <a:gd name="connsiteX14" fmla="*/ 10935718 w 12192000"/>
              <a:gd name="connsiteY14" fmla="*/ 1157431 h 6858000"/>
              <a:gd name="connsiteX15" fmla="*/ 10976535 w 12192000"/>
              <a:gd name="connsiteY15" fmla="*/ 1199538 h 6858000"/>
              <a:gd name="connsiteX16" fmla="*/ 10896611 w 12192000"/>
              <a:gd name="connsiteY16" fmla="*/ 1199538 h 6858000"/>
              <a:gd name="connsiteX17" fmla="*/ 10935718 w 12192000"/>
              <a:gd name="connsiteY17" fmla="*/ 1157431 h 6858000"/>
              <a:gd name="connsiteX18" fmla="*/ 10423850 w 12192000"/>
              <a:gd name="connsiteY18" fmla="*/ 1111961 h 6858000"/>
              <a:gd name="connsiteX19" fmla="*/ 10498282 w 12192000"/>
              <a:gd name="connsiteY19" fmla="*/ 1337777 h 6858000"/>
              <a:gd name="connsiteX20" fmla="*/ 10586279 w 12192000"/>
              <a:gd name="connsiteY20" fmla="*/ 1337777 h 6858000"/>
              <a:gd name="connsiteX21" fmla="*/ 10619053 w 12192000"/>
              <a:gd name="connsiteY21" fmla="*/ 1207222 h 6858000"/>
              <a:gd name="connsiteX22" fmla="*/ 10651767 w 12192000"/>
              <a:gd name="connsiteY22" fmla="*/ 1337777 h 6858000"/>
              <a:gd name="connsiteX23" fmla="*/ 10739794 w 12192000"/>
              <a:gd name="connsiteY23" fmla="*/ 1337777 h 6858000"/>
              <a:gd name="connsiteX24" fmla="*/ 10810774 w 12192000"/>
              <a:gd name="connsiteY24" fmla="*/ 1111961 h 6858000"/>
              <a:gd name="connsiteX25" fmla="*/ 10725358 w 12192000"/>
              <a:gd name="connsiteY25" fmla="*/ 1111961 h 6858000"/>
              <a:gd name="connsiteX26" fmla="*/ 10691774 w 12192000"/>
              <a:gd name="connsiteY26" fmla="*/ 1249750 h 6858000"/>
              <a:gd name="connsiteX27" fmla="*/ 10656899 w 12192000"/>
              <a:gd name="connsiteY27" fmla="*/ 1111961 h 6858000"/>
              <a:gd name="connsiteX28" fmla="*/ 10581207 w 12192000"/>
              <a:gd name="connsiteY28" fmla="*/ 1111961 h 6858000"/>
              <a:gd name="connsiteX29" fmla="*/ 10546332 w 12192000"/>
              <a:gd name="connsiteY29" fmla="*/ 1249750 h 6858000"/>
              <a:gd name="connsiteX30" fmla="*/ 10512718 w 12192000"/>
              <a:gd name="connsiteY30" fmla="*/ 1111961 h 6858000"/>
              <a:gd name="connsiteX31" fmla="*/ 10062497 w 12192000"/>
              <a:gd name="connsiteY31" fmla="*/ 1106019 h 6858000"/>
              <a:gd name="connsiteX32" fmla="*/ 9989386 w 12192000"/>
              <a:gd name="connsiteY32" fmla="*/ 1140894 h 6858000"/>
              <a:gd name="connsiteX33" fmla="*/ 9989386 w 12192000"/>
              <a:gd name="connsiteY33" fmla="*/ 1111961 h 6858000"/>
              <a:gd name="connsiteX34" fmla="*/ 9909882 w 12192000"/>
              <a:gd name="connsiteY34" fmla="*/ 1111961 h 6858000"/>
              <a:gd name="connsiteX35" fmla="*/ 9909882 w 12192000"/>
              <a:gd name="connsiteY35" fmla="*/ 1428325 h 6858000"/>
              <a:gd name="connsiteX36" fmla="*/ 9997039 w 12192000"/>
              <a:gd name="connsiteY36" fmla="*/ 1428325 h 6858000"/>
              <a:gd name="connsiteX37" fmla="*/ 9997039 w 12192000"/>
              <a:gd name="connsiteY37" fmla="*/ 1316498 h 6858000"/>
              <a:gd name="connsiteX38" fmla="*/ 10060816 w 12192000"/>
              <a:gd name="connsiteY38" fmla="*/ 1345400 h 6858000"/>
              <a:gd name="connsiteX39" fmla="*/ 10160758 w 12192000"/>
              <a:gd name="connsiteY39" fmla="*/ 1225500 h 6858000"/>
              <a:gd name="connsiteX40" fmla="*/ 10062526 w 12192000"/>
              <a:gd name="connsiteY40" fmla="*/ 1106019 h 6858000"/>
              <a:gd name="connsiteX41" fmla="*/ 11241367 w 12192000"/>
              <a:gd name="connsiteY41" fmla="*/ 1105989 h 6858000"/>
              <a:gd name="connsiteX42" fmla="*/ 11171197 w 12192000"/>
              <a:gd name="connsiteY42" fmla="*/ 1153199 h 6858000"/>
              <a:gd name="connsiteX43" fmla="*/ 11171197 w 12192000"/>
              <a:gd name="connsiteY43" fmla="*/ 1111931 h 6858000"/>
              <a:gd name="connsiteX44" fmla="*/ 11088272 w 12192000"/>
              <a:gd name="connsiteY44" fmla="*/ 1111931 h 6858000"/>
              <a:gd name="connsiteX45" fmla="*/ 11088272 w 12192000"/>
              <a:gd name="connsiteY45" fmla="*/ 1337747 h 6858000"/>
              <a:gd name="connsiteX46" fmla="*/ 11178401 w 12192000"/>
              <a:gd name="connsiteY46" fmla="*/ 1337747 h 6858000"/>
              <a:gd name="connsiteX47" fmla="*/ 11178401 w 12192000"/>
              <a:gd name="connsiteY47" fmla="*/ 1245068 h 6858000"/>
              <a:gd name="connsiteX48" fmla="*/ 11231133 w 12192000"/>
              <a:gd name="connsiteY48" fmla="*/ 1194436 h 6858000"/>
              <a:gd name="connsiteX49" fmla="*/ 11249441 w 12192000"/>
              <a:gd name="connsiteY49" fmla="*/ 1195727 h 6858000"/>
              <a:gd name="connsiteX50" fmla="*/ 11249441 w 12192000"/>
              <a:gd name="connsiteY50" fmla="*/ 1105989 h 6858000"/>
              <a:gd name="connsiteX51" fmla="*/ 9794543 w 12192000"/>
              <a:gd name="connsiteY51" fmla="*/ 1104818 h 6858000"/>
              <a:gd name="connsiteX52" fmla="*/ 9750724 w 12192000"/>
              <a:gd name="connsiteY52" fmla="*/ 1114392 h 6858000"/>
              <a:gd name="connsiteX53" fmla="*/ 9714949 w 12192000"/>
              <a:gd name="connsiteY53" fmla="*/ 1144375 h 6858000"/>
              <a:gd name="connsiteX54" fmla="*/ 9686317 w 12192000"/>
              <a:gd name="connsiteY54" fmla="*/ 1114602 h 6858000"/>
              <a:gd name="connsiteX55" fmla="*/ 9648171 w 12192000"/>
              <a:gd name="connsiteY55" fmla="*/ 1105238 h 6858000"/>
              <a:gd name="connsiteX56" fmla="*/ 9605372 w 12192000"/>
              <a:gd name="connsiteY56" fmla="*/ 1114813 h 6858000"/>
              <a:gd name="connsiteX57" fmla="*/ 9571878 w 12192000"/>
              <a:gd name="connsiteY57" fmla="*/ 1144405 h 6858000"/>
              <a:gd name="connsiteX58" fmla="*/ 9571878 w 12192000"/>
              <a:gd name="connsiteY58" fmla="*/ 1111301 h 6858000"/>
              <a:gd name="connsiteX59" fmla="*/ 9490634 w 12192000"/>
              <a:gd name="connsiteY59" fmla="*/ 1111301 h 6858000"/>
              <a:gd name="connsiteX60" fmla="*/ 9490634 w 12192000"/>
              <a:gd name="connsiteY60" fmla="*/ 1337777 h 6858000"/>
              <a:gd name="connsiteX61" fmla="*/ 9578721 w 12192000"/>
              <a:gd name="connsiteY61" fmla="*/ 1337777 h 6858000"/>
              <a:gd name="connsiteX62" fmla="*/ 9578721 w 12192000"/>
              <a:gd name="connsiteY62" fmla="*/ 1216105 h 6858000"/>
              <a:gd name="connsiteX63" fmla="*/ 9586464 w 12192000"/>
              <a:gd name="connsiteY63" fmla="*/ 1186303 h 6858000"/>
              <a:gd name="connsiteX64" fmla="*/ 9609094 w 12192000"/>
              <a:gd name="connsiteY64" fmla="*/ 1176098 h 6858000"/>
              <a:gd name="connsiteX65" fmla="*/ 9633164 w 12192000"/>
              <a:gd name="connsiteY65" fmla="*/ 1186213 h 6858000"/>
              <a:gd name="connsiteX66" fmla="*/ 9640517 w 12192000"/>
              <a:gd name="connsiteY66" fmla="*/ 1219647 h 6858000"/>
              <a:gd name="connsiteX67" fmla="*/ 9640517 w 12192000"/>
              <a:gd name="connsiteY67" fmla="*/ 1337777 h 6858000"/>
              <a:gd name="connsiteX68" fmla="*/ 9728184 w 12192000"/>
              <a:gd name="connsiteY68" fmla="*/ 1337777 h 6858000"/>
              <a:gd name="connsiteX69" fmla="*/ 9728184 w 12192000"/>
              <a:gd name="connsiteY69" fmla="*/ 1217366 h 6858000"/>
              <a:gd name="connsiteX70" fmla="*/ 9735838 w 12192000"/>
              <a:gd name="connsiteY70" fmla="*/ 1186123 h 6858000"/>
              <a:gd name="connsiteX71" fmla="*/ 9759818 w 12192000"/>
              <a:gd name="connsiteY71" fmla="*/ 1176098 h 6858000"/>
              <a:gd name="connsiteX72" fmla="*/ 9782868 w 12192000"/>
              <a:gd name="connsiteY72" fmla="*/ 1185703 h 6858000"/>
              <a:gd name="connsiteX73" fmla="*/ 9790011 w 12192000"/>
              <a:gd name="connsiteY73" fmla="*/ 1216526 h 6858000"/>
              <a:gd name="connsiteX74" fmla="*/ 9790011 w 12192000"/>
              <a:gd name="connsiteY74" fmla="*/ 1337777 h 6858000"/>
              <a:gd name="connsiteX75" fmla="*/ 9878068 w 12192000"/>
              <a:gd name="connsiteY75" fmla="*/ 1337777 h 6858000"/>
              <a:gd name="connsiteX76" fmla="*/ 9878068 w 12192000"/>
              <a:gd name="connsiteY76" fmla="*/ 1183392 h 6858000"/>
              <a:gd name="connsiteX77" fmla="*/ 9856159 w 12192000"/>
              <a:gd name="connsiteY77" fmla="*/ 1125467 h 6858000"/>
              <a:gd name="connsiteX78" fmla="*/ 9794543 w 12192000"/>
              <a:gd name="connsiteY78" fmla="*/ 1104848 h 6858000"/>
              <a:gd name="connsiteX79" fmla="*/ 10300888 w 12192000"/>
              <a:gd name="connsiteY79" fmla="*/ 1103918 h 6858000"/>
              <a:gd name="connsiteX80" fmla="*/ 10173334 w 12192000"/>
              <a:gd name="connsiteY80" fmla="*/ 1224659 h 6858000"/>
              <a:gd name="connsiteX81" fmla="*/ 10300888 w 12192000"/>
              <a:gd name="connsiteY81" fmla="*/ 1345850 h 6858000"/>
              <a:gd name="connsiteX82" fmla="*/ 10428442 w 12192000"/>
              <a:gd name="connsiteY82" fmla="*/ 1224659 h 6858000"/>
              <a:gd name="connsiteX83" fmla="*/ 10300888 w 12192000"/>
              <a:gd name="connsiteY83" fmla="*/ 1103918 h 6858000"/>
              <a:gd name="connsiteX84" fmla="*/ 9340780 w 12192000"/>
              <a:gd name="connsiteY84" fmla="*/ 1103918 h 6858000"/>
              <a:gd name="connsiteX85" fmla="*/ 9211095 w 12192000"/>
              <a:gd name="connsiteY85" fmla="*/ 1226790 h 6858000"/>
              <a:gd name="connsiteX86" fmla="*/ 9337359 w 12192000"/>
              <a:gd name="connsiteY86" fmla="*/ 1345850 h 6858000"/>
              <a:gd name="connsiteX87" fmla="*/ 9461942 w 12192000"/>
              <a:gd name="connsiteY87" fmla="*/ 1271029 h 6858000"/>
              <a:gd name="connsiteX88" fmla="*/ 9376045 w 12192000"/>
              <a:gd name="connsiteY88" fmla="*/ 1271029 h 6858000"/>
              <a:gd name="connsiteX89" fmla="*/ 9342431 w 12192000"/>
              <a:gd name="connsiteY89" fmla="*/ 1289757 h 6858000"/>
              <a:gd name="connsiteX90" fmla="*/ 9300773 w 12192000"/>
              <a:gd name="connsiteY90" fmla="*/ 1244677 h 6858000"/>
              <a:gd name="connsiteX91" fmla="*/ 9469144 w 12192000"/>
              <a:gd name="connsiteY91" fmla="*/ 1244677 h 6858000"/>
              <a:gd name="connsiteX92" fmla="*/ 9469144 w 12192000"/>
              <a:gd name="connsiteY92" fmla="*/ 1239155 h 6858000"/>
              <a:gd name="connsiteX93" fmla="*/ 9340720 w 12192000"/>
              <a:gd name="connsiteY93" fmla="*/ 1103948 h 6858000"/>
              <a:gd name="connsiteX94" fmla="*/ 10936558 w 12192000"/>
              <a:gd name="connsiteY94" fmla="*/ 1103888 h 6858000"/>
              <a:gd name="connsiteX95" fmla="*/ 10806873 w 12192000"/>
              <a:gd name="connsiteY95" fmla="*/ 1226760 h 6858000"/>
              <a:gd name="connsiteX96" fmla="*/ 10933136 w 12192000"/>
              <a:gd name="connsiteY96" fmla="*/ 1345821 h 6858000"/>
              <a:gd name="connsiteX97" fmla="*/ 11057719 w 12192000"/>
              <a:gd name="connsiteY97" fmla="*/ 1270999 h 6858000"/>
              <a:gd name="connsiteX98" fmla="*/ 10971823 w 12192000"/>
              <a:gd name="connsiteY98" fmla="*/ 1270999 h 6858000"/>
              <a:gd name="connsiteX99" fmla="*/ 10938209 w 12192000"/>
              <a:gd name="connsiteY99" fmla="*/ 1289727 h 6858000"/>
              <a:gd name="connsiteX100" fmla="*/ 10896551 w 12192000"/>
              <a:gd name="connsiteY100" fmla="*/ 1244648 h 6858000"/>
              <a:gd name="connsiteX101" fmla="*/ 11064922 w 12192000"/>
              <a:gd name="connsiteY101" fmla="*/ 1244648 h 6858000"/>
              <a:gd name="connsiteX102" fmla="*/ 11064922 w 12192000"/>
              <a:gd name="connsiteY102" fmla="*/ 1239125 h 6858000"/>
              <a:gd name="connsiteX103" fmla="*/ 10936498 w 12192000"/>
              <a:gd name="connsiteY103" fmla="*/ 1103918 h 6858000"/>
              <a:gd name="connsiteX104" fmla="*/ 11328404 w 12192000"/>
              <a:gd name="connsiteY104" fmla="*/ 1029276 h 6858000"/>
              <a:gd name="connsiteX105" fmla="*/ 11320841 w 12192000"/>
              <a:gd name="connsiteY105" fmla="*/ 1036839 h 6858000"/>
              <a:gd name="connsiteX106" fmla="*/ 11320841 w 12192000"/>
              <a:gd name="connsiteY106" fmla="*/ 1092843 h 6858000"/>
              <a:gd name="connsiteX107" fmla="*/ 11328404 w 12192000"/>
              <a:gd name="connsiteY107" fmla="*/ 1100436 h 6858000"/>
              <a:gd name="connsiteX108" fmla="*/ 11384288 w 12192000"/>
              <a:gd name="connsiteY108" fmla="*/ 1100436 h 6858000"/>
              <a:gd name="connsiteX109" fmla="*/ 11391881 w 12192000"/>
              <a:gd name="connsiteY109" fmla="*/ 1092873 h 6858000"/>
              <a:gd name="connsiteX110" fmla="*/ 11391881 w 12192000"/>
              <a:gd name="connsiteY110" fmla="*/ 1036839 h 6858000"/>
              <a:gd name="connsiteX111" fmla="*/ 11384288 w 12192000"/>
              <a:gd name="connsiteY111" fmla="*/ 1029276 h 6858000"/>
              <a:gd name="connsiteX112" fmla="*/ 11429547 w 12192000"/>
              <a:gd name="connsiteY112" fmla="*/ 1029246 h 6858000"/>
              <a:gd name="connsiteX113" fmla="*/ 11421954 w 12192000"/>
              <a:gd name="connsiteY113" fmla="*/ 1036809 h 6858000"/>
              <a:gd name="connsiteX114" fmla="*/ 11421954 w 12192000"/>
              <a:gd name="connsiteY114" fmla="*/ 1163973 h 6858000"/>
              <a:gd name="connsiteX115" fmla="*/ 11429547 w 12192000"/>
              <a:gd name="connsiteY115" fmla="*/ 1171566 h 6858000"/>
              <a:gd name="connsiteX116" fmla="*/ 11556681 w 12192000"/>
              <a:gd name="connsiteY116" fmla="*/ 1171566 h 6858000"/>
              <a:gd name="connsiteX117" fmla="*/ 11564244 w 12192000"/>
              <a:gd name="connsiteY117" fmla="*/ 1163973 h 6858000"/>
              <a:gd name="connsiteX118" fmla="*/ 11564244 w 12192000"/>
              <a:gd name="connsiteY118" fmla="*/ 1036809 h 6858000"/>
              <a:gd name="connsiteX119" fmla="*/ 11556681 w 12192000"/>
              <a:gd name="connsiteY119" fmla="*/ 1029246 h 6858000"/>
              <a:gd name="connsiteX120" fmla="*/ 11257184 w 12192000"/>
              <a:gd name="connsiteY120" fmla="*/ 856823 h 6858000"/>
              <a:gd name="connsiteX121" fmla="*/ 11249591 w 12192000"/>
              <a:gd name="connsiteY121" fmla="*/ 864416 h 6858000"/>
              <a:gd name="connsiteX122" fmla="*/ 11249591 w 12192000"/>
              <a:gd name="connsiteY122" fmla="*/ 991550 h 6858000"/>
              <a:gd name="connsiteX123" fmla="*/ 11257184 w 12192000"/>
              <a:gd name="connsiteY123" fmla="*/ 999143 h 6858000"/>
              <a:gd name="connsiteX124" fmla="*/ 11384318 w 12192000"/>
              <a:gd name="connsiteY124" fmla="*/ 999143 h 6858000"/>
              <a:gd name="connsiteX125" fmla="*/ 11391911 w 12192000"/>
              <a:gd name="connsiteY125" fmla="*/ 991550 h 6858000"/>
              <a:gd name="connsiteX126" fmla="*/ 11391911 w 12192000"/>
              <a:gd name="connsiteY126" fmla="*/ 864416 h 6858000"/>
              <a:gd name="connsiteX127" fmla="*/ 11384318 w 12192000"/>
              <a:gd name="connsiteY127" fmla="*/ 856823 h 6858000"/>
              <a:gd name="connsiteX128" fmla="*/ 11429457 w 12192000"/>
              <a:gd name="connsiteY128" fmla="*/ 767925 h 6858000"/>
              <a:gd name="connsiteX129" fmla="*/ 11421864 w 12192000"/>
              <a:gd name="connsiteY129" fmla="*/ 775518 h 6858000"/>
              <a:gd name="connsiteX130" fmla="*/ 11421924 w 12192000"/>
              <a:gd name="connsiteY130" fmla="*/ 991550 h 6858000"/>
              <a:gd name="connsiteX131" fmla="*/ 11429517 w 12192000"/>
              <a:gd name="connsiteY131" fmla="*/ 999143 h 6858000"/>
              <a:gd name="connsiteX132" fmla="*/ 11645609 w 12192000"/>
              <a:gd name="connsiteY132" fmla="*/ 999143 h 6858000"/>
              <a:gd name="connsiteX133" fmla="*/ 11653202 w 12192000"/>
              <a:gd name="connsiteY133" fmla="*/ 991550 h 6858000"/>
              <a:gd name="connsiteX134" fmla="*/ 11653202 w 12192000"/>
              <a:gd name="connsiteY134" fmla="*/ 883564 h 6858000"/>
              <a:gd name="connsiteX135" fmla="*/ 11537533 w 12192000"/>
              <a:gd name="connsiteY135" fmla="*/ 767925 h 6858000"/>
              <a:gd name="connsiteX136" fmla="*/ 4860000 w 12192000"/>
              <a:gd name="connsiteY136" fmla="*/ 0 h 6858000"/>
              <a:gd name="connsiteX137" fmla="*/ 12192000 w 12192000"/>
              <a:gd name="connsiteY137" fmla="*/ 0 h 6858000"/>
              <a:gd name="connsiteX138" fmla="*/ 12192000 w 12192000"/>
              <a:gd name="connsiteY138" fmla="*/ 6858000 h 6858000"/>
              <a:gd name="connsiteX139" fmla="*/ 0 w 12192000"/>
              <a:gd name="connsiteY139" fmla="*/ 6858000 h 6858000"/>
              <a:gd name="connsiteX140" fmla="*/ 0 w 12192000"/>
              <a:gd name="connsiteY140" fmla="*/ 4644000 h 6858000"/>
              <a:gd name="connsiteX141" fmla="*/ 4860000 w 12192000"/>
              <a:gd name="connsiteY141" fmla="*/ 4644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2192000" h="6858000">
                <a:moveTo>
                  <a:pt x="10034885" y="1173187"/>
                </a:moveTo>
                <a:cubicBezTo>
                  <a:pt x="10059556" y="1173187"/>
                  <a:pt x="10071020" y="1190204"/>
                  <a:pt x="10071020" y="1225500"/>
                </a:cubicBezTo>
                <a:cubicBezTo>
                  <a:pt x="10071020" y="1260795"/>
                  <a:pt x="10058265" y="1276551"/>
                  <a:pt x="10034015" y="1276551"/>
                </a:cubicBezTo>
                <a:cubicBezTo>
                  <a:pt x="10009374" y="1276551"/>
                  <a:pt x="9997039" y="1259534"/>
                  <a:pt x="9997039" y="1225500"/>
                </a:cubicBezTo>
                <a:cubicBezTo>
                  <a:pt x="9997039" y="1189784"/>
                  <a:pt x="10008084" y="1173187"/>
                  <a:pt x="10034885" y="1173187"/>
                </a:cubicBezTo>
                <a:close/>
                <a:moveTo>
                  <a:pt x="10300888" y="1166404"/>
                </a:moveTo>
                <a:cubicBezTo>
                  <a:pt x="10328110" y="1166404"/>
                  <a:pt x="10338314" y="1184712"/>
                  <a:pt x="10338314" y="1224659"/>
                </a:cubicBezTo>
                <a:cubicBezTo>
                  <a:pt x="10338314" y="1264606"/>
                  <a:pt x="10328110" y="1283334"/>
                  <a:pt x="10300888" y="1283334"/>
                </a:cubicBezTo>
                <a:cubicBezTo>
                  <a:pt x="10273666" y="1283334"/>
                  <a:pt x="10263882" y="1264636"/>
                  <a:pt x="10263882" y="1224659"/>
                </a:cubicBezTo>
                <a:cubicBezTo>
                  <a:pt x="10263882" y="1184682"/>
                  <a:pt x="10273666" y="1166404"/>
                  <a:pt x="10300888" y="1166404"/>
                </a:cubicBezTo>
                <a:close/>
                <a:moveTo>
                  <a:pt x="9339940" y="1157461"/>
                </a:moveTo>
                <a:cubicBezTo>
                  <a:pt x="9365451" y="1157461"/>
                  <a:pt x="9379046" y="1171506"/>
                  <a:pt x="9380757" y="1199568"/>
                </a:cubicBezTo>
                <a:lnTo>
                  <a:pt x="9300833" y="1199568"/>
                </a:lnTo>
                <a:cubicBezTo>
                  <a:pt x="9302064" y="1172797"/>
                  <a:pt x="9316560" y="1157461"/>
                  <a:pt x="9339940" y="1157461"/>
                </a:cubicBezTo>
                <a:close/>
                <a:moveTo>
                  <a:pt x="10935718" y="1157431"/>
                </a:moveTo>
                <a:cubicBezTo>
                  <a:pt x="10961228" y="1157431"/>
                  <a:pt x="10974824" y="1171477"/>
                  <a:pt x="10976535" y="1199538"/>
                </a:cubicBezTo>
                <a:lnTo>
                  <a:pt x="10896611" y="1199538"/>
                </a:lnTo>
                <a:cubicBezTo>
                  <a:pt x="10897842" y="1172767"/>
                  <a:pt x="10912338" y="1157431"/>
                  <a:pt x="10935718" y="1157431"/>
                </a:cubicBezTo>
                <a:close/>
                <a:moveTo>
                  <a:pt x="10423850" y="1111961"/>
                </a:moveTo>
                <a:lnTo>
                  <a:pt x="10498282" y="1337777"/>
                </a:lnTo>
                <a:lnTo>
                  <a:pt x="10586279" y="1337777"/>
                </a:lnTo>
                <a:lnTo>
                  <a:pt x="10619053" y="1207222"/>
                </a:lnTo>
                <a:lnTo>
                  <a:pt x="10651767" y="1337777"/>
                </a:lnTo>
                <a:lnTo>
                  <a:pt x="10739794" y="1337777"/>
                </a:lnTo>
                <a:lnTo>
                  <a:pt x="10810774" y="1111961"/>
                </a:lnTo>
                <a:lnTo>
                  <a:pt x="10725358" y="1111961"/>
                </a:lnTo>
                <a:lnTo>
                  <a:pt x="10691774" y="1249750"/>
                </a:lnTo>
                <a:lnTo>
                  <a:pt x="10656899" y="1111961"/>
                </a:lnTo>
                <a:lnTo>
                  <a:pt x="10581207" y="1111961"/>
                </a:lnTo>
                <a:lnTo>
                  <a:pt x="10546332" y="1249750"/>
                </a:lnTo>
                <a:lnTo>
                  <a:pt x="10512718" y="1111961"/>
                </a:lnTo>
                <a:close/>
                <a:moveTo>
                  <a:pt x="10062497" y="1106019"/>
                </a:moveTo>
                <a:cubicBezTo>
                  <a:pt x="10030203" y="1106019"/>
                  <a:pt x="10007243" y="1116643"/>
                  <a:pt x="9989386" y="1140894"/>
                </a:cubicBezTo>
                <a:lnTo>
                  <a:pt x="9989386" y="1111961"/>
                </a:lnTo>
                <a:lnTo>
                  <a:pt x="9909882" y="1111961"/>
                </a:lnTo>
                <a:lnTo>
                  <a:pt x="9909882" y="1428325"/>
                </a:lnTo>
                <a:lnTo>
                  <a:pt x="9997039" y="1428325"/>
                </a:lnTo>
                <a:lnTo>
                  <a:pt x="9997039" y="1316498"/>
                </a:lnTo>
                <a:cubicBezTo>
                  <a:pt x="10012766" y="1336486"/>
                  <a:pt x="10033174" y="1345400"/>
                  <a:pt x="10060816" y="1345400"/>
                </a:cubicBezTo>
                <a:cubicBezTo>
                  <a:pt x="10121202" y="1345400"/>
                  <a:pt x="10160758" y="1299031"/>
                  <a:pt x="10160758" y="1225500"/>
                </a:cubicBezTo>
                <a:cubicBezTo>
                  <a:pt x="10160758" y="1151968"/>
                  <a:pt x="10119941" y="1106019"/>
                  <a:pt x="10062526" y="1106019"/>
                </a:cubicBezTo>
                <a:close/>
                <a:moveTo>
                  <a:pt x="11241367" y="1105989"/>
                </a:moveTo>
                <a:cubicBezTo>
                  <a:pt x="11204782" y="1105989"/>
                  <a:pt x="11183113" y="1120005"/>
                  <a:pt x="11171197" y="1153199"/>
                </a:cubicBezTo>
                <a:lnTo>
                  <a:pt x="11171197" y="1111931"/>
                </a:lnTo>
                <a:lnTo>
                  <a:pt x="11088272" y="1111931"/>
                </a:lnTo>
                <a:lnTo>
                  <a:pt x="11088272" y="1337747"/>
                </a:lnTo>
                <a:lnTo>
                  <a:pt x="11178401" y="1337747"/>
                </a:lnTo>
                <a:lnTo>
                  <a:pt x="11178401" y="1245068"/>
                </a:lnTo>
                <a:cubicBezTo>
                  <a:pt x="11178401" y="1210193"/>
                  <a:pt x="11194998" y="1194436"/>
                  <a:pt x="11231133" y="1194436"/>
                </a:cubicBezTo>
                <a:cubicBezTo>
                  <a:pt x="11236655" y="1194436"/>
                  <a:pt x="11242628" y="1194887"/>
                  <a:pt x="11249441" y="1195727"/>
                </a:cubicBezTo>
                <a:lnTo>
                  <a:pt x="11249441" y="1105989"/>
                </a:lnTo>
                <a:close/>
                <a:moveTo>
                  <a:pt x="9794543" y="1104818"/>
                </a:moveTo>
                <a:cubicBezTo>
                  <a:pt x="9778276" y="1104818"/>
                  <a:pt x="9763660" y="1108030"/>
                  <a:pt x="9750724" y="1114392"/>
                </a:cubicBezTo>
                <a:cubicBezTo>
                  <a:pt x="9737759" y="1120785"/>
                  <a:pt x="9725844" y="1130779"/>
                  <a:pt x="9714949" y="1144375"/>
                </a:cubicBezTo>
                <a:cubicBezTo>
                  <a:pt x="9706545" y="1130779"/>
                  <a:pt x="9697002" y="1120845"/>
                  <a:pt x="9686317" y="1114602"/>
                </a:cubicBezTo>
                <a:cubicBezTo>
                  <a:pt x="9675632" y="1108360"/>
                  <a:pt x="9662907" y="1105238"/>
                  <a:pt x="9648171" y="1105238"/>
                </a:cubicBezTo>
                <a:cubicBezTo>
                  <a:pt x="9632054" y="1105238"/>
                  <a:pt x="9617768" y="1108420"/>
                  <a:pt x="9605372" y="1114813"/>
                </a:cubicBezTo>
                <a:cubicBezTo>
                  <a:pt x="9592977" y="1121205"/>
                  <a:pt x="9581812" y="1131049"/>
                  <a:pt x="9571878" y="1144405"/>
                </a:cubicBezTo>
                <a:lnTo>
                  <a:pt x="9571878" y="1111301"/>
                </a:lnTo>
                <a:lnTo>
                  <a:pt x="9490634" y="1111301"/>
                </a:lnTo>
                <a:lnTo>
                  <a:pt x="9490634" y="1337777"/>
                </a:lnTo>
                <a:lnTo>
                  <a:pt x="9578721" y="1337777"/>
                </a:lnTo>
                <a:lnTo>
                  <a:pt x="9578721" y="1216105"/>
                </a:lnTo>
                <a:cubicBezTo>
                  <a:pt x="9578721" y="1203050"/>
                  <a:pt x="9581302" y="1193116"/>
                  <a:pt x="9586464" y="1186303"/>
                </a:cubicBezTo>
                <a:cubicBezTo>
                  <a:pt x="9591627" y="1179490"/>
                  <a:pt x="9599190" y="1176098"/>
                  <a:pt x="9609094" y="1176098"/>
                </a:cubicBezTo>
                <a:cubicBezTo>
                  <a:pt x="9620259" y="1176098"/>
                  <a:pt x="9628272" y="1179460"/>
                  <a:pt x="9633164" y="1186213"/>
                </a:cubicBezTo>
                <a:cubicBezTo>
                  <a:pt x="9638056" y="1192966"/>
                  <a:pt x="9640517" y="1204100"/>
                  <a:pt x="9640517" y="1219647"/>
                </a:cubicBezTo>
                <a:lnTo>
                  <a:pt x="9640517" y="1337777"/>
                </a:lnTo>
                <a:lnTo>
                  <a:pt x="9728184" y="1337777"/>
                </a:lnTo>
                <a:lnTo>
                  <a:pt x="9728184" y="1217366"/>
                </a:lnTo>
                <a:cubicBezTo>
                  <a:pt x="9728184" y="1203200"/>
                  <a:pt x="9730736" y="1192786"/>
                  <a:pt x="9735838" y="1186123"/>
                </a:cubicBezTo>
                <a:cubicBezTo>
                  <a:pt x="9740940" y="1179460"/>
                  <a:pt x="9748923" y="1176098"/>
                  <a:pt x="9759818" y="1176098"/>
                </a:cubicBezTo>
                <a:cubicBezTo>
                  <a:pt x="9770713" y="1176098"/>
                  <a:pt x="9778126" y="1179310"/>
                  <a:pt x="9782868" y="1185703"/>
                </a:cubicBezTo>
                <a:cubicBezTo>
                  <a:pt x="9787610" y="1192095"/>
                  <a:pt x="9790011" y="1202360"/>
                  <a:pt x="9790011" y="1216526"/>
                </a:cubicBezTo>
                <a:lnTo>
                  <a:pt x="9790011" y="1337777"/>
                </a:lnTo>
                <a:lnTo>
                  <a:pt x="9878068" y="1337777"/>
                </a:lnTo>
                <a:lnTo>
                  <a:pt x="9878068" y="1183392"/>
                </a:lnTo>
                <a:cubicBezTo>
                  <a:pt x="9878068" y="1158541"/>
                  <a:pt x="9870775" y="1139213"/>
                  <a:pt x="9856159" y="1125467"/>
                </a:cubicBezTo>
                <a:cubicBezTo>
                  <a:pt x="9841543" y="1111721"/>
                  <a:pt x="9821014" y="1104848"/>
                  <a:pt x="9794543" y="1104848"/>
                </a:cubicBezTo>
                <a:close/>
                <a:moveTo>
                  <a:pt x="10300888" y="1103918"/>
                </a:moveTo>
                <a:cubicBezTo>
                  <a:pt x="10221384" y="1103918"/>
                  <a:pt x="10173334" y="1149807"/>
                  <a:pt x="10173334" y="1224659"/>
                </a:cubicBezTo>
                <a:cubicBezTo>
                  <a:pt x="10173334" y="1299511"/>
                  <a:pt x="10221384" y="1345850"/>
                  <a:pt x="10300888" y="1345850"/>
                </a:cubicBezTo>
                <a:cubicBezTo>
                  <a:pt x="10380392" y="1345850"/>
                  <a:pt x="10428442" y="1299511"/>
                  <a:pt x="10428442" y="1224659"/>
                </a:cubicBezTo>
                <a:cubicBezTo>
                  <a:pt x="10428442" y="1149807"/>
                  <a:pt x="10380392" y="1103918"/>
                  <a:pt x="10300888" y="1103918"/>
                </a:cubicBezTo>
                <a:close/>
                <a:moveTo>
                  <a:pt x="9340780" y="1103918"/>
                </a:moveTo>
                <a:cubicBezTo>
                  <a:pt x="9260436" y="1103918"/>
                  <a:pt x="9211095" y="1151098"/>
                  <a:pt x="9211095" y="1226790"/>
                </a:cubicBezTo>
                <a:cubicBezTo>
                  <a:pt x="9211095" y="1302482"/>
                  <a:pt x="9259145" y="1345850"/>
                  <a:pt x="9337359" y="1345850"/>
                </a:cubicBezTo>
                <a:cubicBezTo>
                  <a:pt x="9407108" y="1345850"/>
                  <a:pt x="9449636" y="1319919"/>
                  <a:pt x="9461942" y="1271029"/>
                </a:cubicBezTo>
                <a:lnTo>
                  <a:pt x="9376045" y="1271029"/>
                </a:lnTo>
                <a:cubicBezTo>
                  <a:pt x="9371783" y="1282944"/>
                  <a:pt x="9359898" y="1289757"/>
                  <a:pt x="9342431" y="1289757"/>
                </a:cubicBezTo>
                <a:cubicBezTo>
                  <a:pt x="9316500" y="1289757"/>
                  <a:pt x="9301613" y="1273610"/>
                  <a:pt x="9300773" y="1244677"/>
                </a:cubicBezTo>
                <a:lnTo>
                  <a:pt x="9469144" y="1244677"/>
                </a:lnTo>
                <a:lnTo>
                  <a:pt x="9469144" y="1239155"/>
                </a:lnTo>
                <a:cubicBezTo>
                  <a:pt x="9469144" y="1154099"/>
                  <a:pt x="9420674" y="1103948"/>
                  <a:pt x="9340720" y="1103948"/>
                </a:cubicBezTo>
                <a:close/>
                <a:moveTo>
                  <a:pt x="10936558" y="1103888"/>
                </a:moveTo>
                <a:cubicBezTo>
                  <a:pt x="10856214" y="1103888"/>
                  <a:pt x="10806873" y="1151068"/>
                  <a:pt x="10806873" y="1226760"/>
                </a:cubicBezTo>
                <a:cubicBezTo>
                  <a:pt x="10806873" y="1302452"/>
                  <a:pt x="10854923" y="1345821"/>
                  <a:pt x="10933136" y="1345821"/>
                </a:cubicBezTo>
                <a:cubicBezTo>
                  <a:pt x="11002886" y="1345821"/>
                  <a:pt x="11045414" y="1319890"/>
                  <a:pt x="11057719" y="1270999"/>
                </a:cubicBezTo>
                <a:lnTo>
                  <a:pt x="10971823" y="1270999"/>
                </a:lnTo>
                <a:cubicBezTo>
                  <a:pt x="10967561" y="1282914"/>
                  <a:pt x="10955646" y="1289727"/>
                  <a:pt x="10938209" y="1289727"/>
                </a:cubicBezTo>
                <a:cubicBezTo>
                  <a:pt x="10912278" y="1289727"/>
                  <a:pt x="10897391" y="1273580"/>
                  <a:pt x="10896551" y="1244648"/>
                </a:cubicBezTo>
                <a:lnTo>
                  <a:pt x="11064922" y="1244648"/>
                </a:lnTo>
                <a:lnTo>
                  <a:pt x="11064922" y="1239125"/>
                </a:lnTo>
                <a:cubicBezTo>
                  <a:pt x="11064922" y="1154069"/>
                  <a:pt x="11016452" y="1103918"/>
                  <a:pt x="10936498" y="1103918"/>
                </a:cubicBezTo>
                <a:close/>
                <a:moveTo>
                  <a:pt x="11328404" y="1029276"/>
                </a:moveTo>
                <a:lnTo>
                  <a:pt x="11320841" y="1036839"/>
                </a:lnTo>
                <a:lnTo>
                  <a:pt x="11320841" y="1092843"/>
                </a:lnTo>
                <a:lnTo>
                  <a:pt x="11328404" y="1100436"/>
                </a:lnTo>
                <a:lnTo>
                  <a:pt x="11384288" y="1100436"/>
                </a:lnTo>
                <a:lnTo>
                  <a:pt x="11391881" y="1092873"/>
                </a:lnTo>
                <a:lnTo>
                  <a:pt x="11391881" y="1036839"/>
                </a:lnTo>
                <a:lnTo>
                  <a:pt x="11384288" y="1029276"/>
                </a:lnTo>
                <a:close/>
                <a:moveTo>
                  <a:pt x="11429547" y="1029246"/>
                </a:moveTo>
                <a:lnTo>
                  <a:pt x="11421954" y="1036809"/>
                </a:lnTo>
                <a:lnTo>
                  <a:pt x="11421954" y="1163973"/>
                </a:lnTo>
                <a:lnTo>
                  <a:pt x="11429547" y="1171566"/>
                </a:lnTo>
                <a:lnTo>
                  <a:pt x="11556681" y="1171566"/>
                </a:lnTo>
                <a:lnTo>
                  <a:pt x="11564244" y="1163973"/>
                </a:lnTo>
                <a:lnTo>
                  <a:pt x="11564244" y="1036809"/>
                </a:lnTo>
                <a:lnTo>
                  <a:pt x="11556681" y="1029246"/>
                </a:lnTo>
                <a:close/>
                <a:moveTo>
                  <a:pt x="11257184" y="856823"/>
                </a:moveTo>
                <a:lnTo>
                  <a:pt x="11249591" y="864416"/>
                </a:lnTo>
                <a:lnTo>
                  <a:pt x="11249591" y="991550"/>
                </a:lnTo>
                <a:lnTo>
                  <a:pt x="11257184" y="999143"/>
                </a:lnTo>
                <a:lnTo>
                  <a:pt x="11384318" y="999143"/>
                </a:lnTo>
                <a:lnTo>
                  <a:pt x="11391911" y="991550"/>
                </a:lnTo>
                <a:lnTo>
                  <a:pt x="11391911" y="864416"/>
                </a:lnTo>
                <a:lnTo>
                  <a:pt x="11384318" y="856823"/>
                </a:lnTo>
                <a:close/>
                <a:moveTo>
                  <a:pt x="11429457" y="767925"/>
                </a:moveTo>
                <a:lnTo>
                  <a:pt x="11421864" y="775518"/>
                </a:lnTo>
                <a:lnTo>
                  <a:pt x="11421924" y="991550"/>
                </a:lnTo>
                <a:lnTo>
                  <a:pt x="11429517" y="999143"/>
                </a:lnTo>
                <a:lnTo>
                  <a:pt x="11645609" y="999143"/>
                </a:lnTo>
                <a:lnTo>
                  <a:pt x="11653202" y="991550"/>
                </a:lnTo>
                <a:lnTo>
                  <a:pt x="11653202" y="883564"/>
                </a:lnTo>
                <a:lnTo>
                  <a:pt x="11537533" y="767925"/>
                </a:lnTo>
                <a:close/>
                <a:moveTo>
                  <a:pt x="4860000" y="0"/>
                </a:moveTo>
                <a:lnTo>
                  <a:pt x="12192000" y="0"/>
                </a:lnTo>
                <a:lnTo>
                  <a:pt x="12192000" y="6858000"/>
                </a:lnTo>
                <a:lnTo>
                  <a:pt x="0" y="6858000"/>
                </a:lnTo>
                <a:lnTo>
                  <a:pt x="0" y="4644000"/>
                </a:lnTo>
                <a:lnTo>
                  <a:pt x="4860000" y="4644000"/>
                </a:lnTo>
                <a:close/>
              </a:path>
            </a:pathLst>
          </a:custGeom>
        </p:spPr>
        <p:txBody>
          <a:bodyPr wrap="square">
            <a:noAutofit/>
          </a:bodyPr>
          <a:lstStyle>
            <a:lvl1pPr algn="ctr">
              <a:defRPr/>
            </a:lvl1pPr>
          </a:lstStyle>
          <a:p>
            <a:r>
              <a:rPr lang="en-US"/>
              <a:t>Click icon to add picture</a:t>
            </a:r>
            <a:endParaRPr lang="en-GB"/>
          </a:p>
        </p:txBody>
      </p:sp>
      <p:sp>
        <p:nvSpPr>
          <p:cNvPr id="8" name="Green Block">
            <a:extLst>
              <a:ext uri="{FF2B5EF4-FFF2-40B4-BE49-F238E27FC236}">
                <a16:creationId xmlns:a16="http://schemas.microsoft.com/office/drawing/2014/main" id="{61D5DE2B-4FC1-5593-B3EE-6E52BCCF57EB}"/>
              </a:ext>
            </a:extLst>
          </p:cNvPr>
          <p:cNvSpPr/>
          <p:nvPr/>
        </p:nvSpPr>
        <p:spPr bwMode="white">
          <a:xfrm>
            <a:off x="0" y="1"/>
            <a:ext cx="4876800" cy="4680000"/>
          </a:xfrm>
          <a:prstGeom prst="rect">
            <a:avLst/>
          </a:prstGeom>
          <a:gradFill>
            <a:gsLst>
              <a:gs pos="100000">
                <a:srgbClr val="00B8E1"/>
              </a:gs>
              <a:gs pos="0">
                <a:srgbClr val="00BF34"/>
              </a:gs>
            </a:gsLst>
            <a:lin ang="18900000" scaled="0"/>
          </a:gradFill>
          <a:ln w="12700" cap="flat" cmpd="sng" algn="ctr">
            <a:noFill/>
            <a:prstDash val="solid"/>
            <a:miter lim="800000"/>
          </a:ln>
          <a:effectLst/>
        </p:spPr>
        <p:txBody>
          <a:bodyPr rtlCol="0" anchor="ctr"/>
          <a:lstStyle/>
          <a:p>
            <a:pPr marR="0" lvl="0" algn="ctr" defTabSz="914400" fontAlgn="auto">
              <a:lnSpc>
                <a:spcPct val="100000"/>
              </a:lnSpc>
              <a:spcAft>
                <a:spcPct val="0"/>
              </a:spcAft>
              <a:buClrTx/>
              <a:buSzTx/>
            </a:pPr>
            <a:endParaRPr kumimoji="0" lang="en-PT" b="0" i="0" u="none" strike="noStrike" kern="0" cap="none" spc="0" normalizeH="0">
              <a:ln>
                <a:noFill/>
              </a:ln>
              <a:solidFill>
                <a:srgbClr val="FFFFFF"/>
              </a:solidFill>
              <a:effectLst/>
              <a:uLnTx/>
              <a:uFillTx/>
              <a:latin typeface="Segoe UI"/>
            </a:endParaRPr>
          </a:p>
        </p:txBody>
      </p:sp>
      <p:sp>
        <p:nvSpPr>
          <p:cNvPr id="11" name="Squiggle 2">
            <a:extLst>
              <a:ext uri="{FF2B5EF4-FFF2-40B4-BE49-F238E27FC236}">
                <a16:creationId xmlns:a16="http://schemas.microsoft.com/office/drawing/2014/main" id="{8CC02ACD-8210-40F4-BF0E-D9A8942532F0}"/>
              </a:ext>
            </a:extLst>
          </p:cNvPr>
          <p:cNvSpPr/>
          <p:nvPr/>
        </p:nvSpPr>
        <p:spPr>
          <a:xfrm>
            <a:off x="406400" y="1949495"/>
            <a:ext cx="4458342" cy="2730506"/>
          </a:xfrm>
          <a:custGeom>
            <a:avLst/>
            <a:gdLst>
              <a:gd name="connsiteX0" fmla="*/ 4458342 w 4458342"/>
              <a:gd name="connsiteY0" fmla="*/ 68 h 2730506"/>
              <a:gd name="connsiteX1" fmla="*/ 4448817 w 4458342"/>
              <a:gd name="connsiteY1" fmla="*/ 2721043 h 2730506"/>
              <a:gd name="connsiteX2" fmla="*/ 4174621 w 4458342"/>
              <a:gd name="connsiteY2" fmla="*/ 2728793 h 2730506"/>
              <a:gd name="connsiteX3" fmla="*/ 4144911 w 4458342"/>
              <a:gd name="connsiteY3" fmla="*/ 2730506 h 2730506"/>
              <a:gd name="connsiteX4" fmla="*/ 2623679 w 4458342"/>
              <a:gd name="connsiteY4" fmla="*/ 2730506 h 2730506"/>
              <a:gd name="connsiteX5" fmla="*/ 2661479 w 4458342"/>
              <a:gd name="connsiteY5" fmla="*/ 2630001 h 2730506"/>
              <a:gd name="connsiteX6" fmla="*/ 3376488 w 4458342"/>
              <a:gd name="connsiteY6" fmla="*/ 1150378 h 2730506"/>
              <a:gd name="connsiteX7" fmla="*/ 2275273 w 4458342"/>
              <a:gd name="connsiteY7" fmla="*/ 1976289 h 2730506"/>
              <a:gd name="connsiteX8" fmla="*/ 1294379 w 4458342"/>
              <a:gd name="connsiteY8" fmla="*/ 2730506 h 2730506"/>
              <a:gd name="connsiteX9" fmla="*/ 0 w 4458342"/>
              <a:gd name="connsiteY9" fmla="*/ 2730506 h 2730506"/>
              <a:gd name="connsiteX10" fmla="*/ 74915 w 4458342"/>
              <a:gd name="connsiteY10" fmla="*/ 2634677 h 2730506"/>
              <a:gd name="connsiteX11" fmla="*/ 2197742 w 4458342"/>
              <a:gd name="connsiteY11" fmla="*/ 1114493 h 2730506"/>
              <a:gd name="connsiteX12" fmla="*/ 4458342 w 4458342"/>
              <a:gd name="connsiteY12" fmla="*/ 68 h 2730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58342" h="2730506">
                <a:moveTo>
                  <a:pt x="4458342" y="68"/>
                </a:moveTo>
                <a:lnTo>
                  <a:pt x="4448817" y="2721043"/>
                </a:lnTo>
                <a:cubicBezTo>
                  <a:pt x="4362232" y="2721837"/>
                  <a:pt x="4270538" y="2724522"/>
                  <a:pt x="4174621" y="2728793"/>
                </a:cubicBezTo>
                <a:lnTo>
                  <a:pt x="4144911" y="2730506"/>
                </a:lnTo>
                <a:lnTo>
                  <a:pt x="2623679" y="2730506"/>
                </a:lnTo>
                <a:lnTo>
                  <a:pt x="2661479" y="2630001"/>
                </a:lnTo>
                <a:cubicBezTo>
                  <a:pt x="2867822" y="2113582"/>
                  <a:pt x="3178614" y="1530354"/>
                  <a:pt x="3376488" y="1150378"/>
                </a:cubicBezTo>
                <a:lnTo>
                  <a:pt x="2275273" y="1976289"/>
                </a:lnTo>
                <a:lnTo>
                  <a:pt x="1294379" y="2730506"/>
                </a:lnTo>
                <a:lnTo>
                  <a:pt x="0" y="2730506"/>
                </a:lnTo>
                <a:lnTo>
                  <a:pt x="74915" y="2634677"/>
                </a:lnTo>
                <a:cubicBezTo>
                  <a:pt x="465021" y="2199819"/>
                  <a:pt x="1632451" y="1506964"/>
                  <a:pt x="2197742" y="1114493"/>
                </a:cubicBezTo>
                <a:cubicBezTo>
                  <a:pt x="2951463" y="591198"/>
                  <a:pt x="4424475" y="-7340"/>
                  <a:pt x="4458342" y="68"/>
                </a:cubicBezTo>
                <a:close/>
              </a:path>
            </a:pathLst>
          </a:custGeom>
          <a:gradFill>
            <a:gsLst>
              <a:gs pos="70000">
                <a:srgbClr val="00B9B4"/>
              </a:gs>
              <a:gs pos="35000">
                <a:srgbClr val="00BAA8"/>
              </a:gs>
              <a:gs pos="100000">
                <a:srgbClr val="00B9BD"/>
              </a:gs>
              <a:gs pos="0">
                <a:srgbClr val="00BAA0"/>
              </a:gs>
            </a:gsLst>
            <a:lin ang="4200000" scaled="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 name="Squiggle 1">
            <a:extLst>
              <a:ext uri="{FF2B5EF4-FFF2-40B4-BE49-F238E27FC236}">
                <a16:creationId xmlns:a16="http://schemas.microsoft.com/office/drawing/2014/main" id="{1685A533-6680-6637-C9CD-3D80C64A7375}"/>
              </a:ext>
            </a:extLst>
          </p:cNvPr>
          <p:cNvSpPr/>
          <p:nvPr/>
        </p:nvSpPr>
        <p:spPr>
          <a:xfrm>
            <a:off x="12700" y="12700"/>
            <a:ext cx="3143251" cy="4076700"/>
          </a:xfrm>
          <a:custGeom>
            <a:avLst/>
            <a:gdLst>
              <a:gd name="connsiteX0" fmla="*/ 0 w 3143251"/>
              <a:gd name="connsiteY0" fmla="*/ 0 h 4076700"/>
              <a:gd name="connsiteX1" fmla="*/ 3143251 w 3143251"/>
              <a:gd name="connsiteY1" fmla="*/ 0 h 4076700"/>
              <a:gd name="connsiteX2" fmla="*/ 1743076 w 3143251"/>
              <a:gd name="connsiteY2" fmla="*/ 1943100 h 4076700"/>
              <a:gd name="connsiteX3" fmla="*/ 0 w 3143251"/>
              <a:gd name="connsiteY3" fmla="*/ 4076700 h 4076700"/>
              <a:gd name="connsiteX4" fmla="*/ 0 w 3143251"/>
              <a:gd name="connsiteY4" fmla="*/ 2040508 h 4076700"/>
              <a:gd name="connsiteX5" fmla="*/ 21267 w 3143251"/>
              <a:gd name="connsiteY5" fmla="*/ 2008537 h 4076700"/>
              <a:gd name="connsiteX6" fmla="*/ 460479 w 3143251"/>
              <a:gd name="connsiteY6" fmla="*/ 1482537 h 4076700"/>
              <a:gd name="connsiteX7" fmla="*/ 10638 w 3143251"/>
              <a:gd name="connsiteY7" fmla="*/ 1717593 h 4076700"/>
              <a:gd name="connsiteX8" fmla="*/ 0 w 3143251"/>
              <a:gd name="connsiteY8" fmla="*/ 1722510 h 407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3251" h="4076700">
                <a:moveTo>
                  <a:pt x="0" y="0"/>
                </a:moveTo>
                <a:lnTo>
                  <a:pt x="3143251" y="0"/>
                </a:lnTo>
                <a:cubicBezTo>
                  <a:pt x="2781301" y="647700"/>
                  <a:pt x="2209801" y="1295400"/>
                  <a:pt x="1743076" y="1943100"/>
                </a:cubicBezTo>
                <a:cubicBezTo>
                  <a:pt x="1219201" y="2622550"/>
                  <a:pt x="871538" y="3009900"/>
                  <a:pt x="0" y="4076700"/>
                </a:cubicBezTo>
                <a:lnTo>
                  <a:pt x="0" y="2040508"/>
                </a:lnTo>
                <a:lnTo>
                  <a:pt x="21267" y="2008537"/>
                </a:lnTo>
                <a:cubicBezTo>
                  <a:pt x="166305" y="1796335"/>
                  <a:pt x="232480" y="1770389"/>
                  <a:pt x="460479" y="1482537"/>
                </a:cubicBezTo>
                <a:lnTo>
                  <a:pt x="10638" y="1717593"/>
                </a:lnTo>
                <a:lnTo>
                  <a:pt x="0" y="1722510"/>
                </a:lnTo>
                <a:close/>
              </a:path>
            </a:pathLst>
          </a:custGeom>
          <a:gradFill>
            <a:gsLst>
              <a:gs pos="70000">
                <a:srgbClr val="00BB8B"/>
              </a:gs>
              <a:gs pos="35000">
                <a:srgbClr val="00BC8B"/>
              </a:gs>
              <a:gs pos="100000">
                <a:srgbClr val="00BA9A"/>
              </a:gs>
              <a:gs pos="0">
                <a:srgbClr val="00BC69"/>
              </a:gs>
            </a:gsLst>
            <a:lin ang="4200000" scaled="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 name="Subtitle">
            <a:extLst>
              <a:ext uri="{FF2B5EF4-FFF2-40B4-BE49-F238E27FC236}">
                <a16:creationId xmlns:a16="http://schemas.microsoft.com/office/drawing/2014/main" id="{8ADB95D0-F1C8-516C-6D3E-5C2A67CD6FA3}"/>
              </a:ext>
            </a:extLst>
          </p:cNvPr>
          <p:cNvSpPr>
            <a:spLocks noGrp="1"/>
          </p:cNvSpPr>
          <p:nvPr>
            <p:ph type="subTitle" idx="1" hasCustomPrompt="1"/>
          </p:nvPr>
        </p:nvSpPr>
        <p:spPr>
          <a:xfrm>
            <a:off x="550800" y="3061072"/>
            <a:ext cx="3454400" cy="1016000"/>
          </a:xfrm>
          <a:prstGeom prst="rect">
            <a:avLst/>
          </a:prstGeom>
        </p:spPr>
        <p:txBody>
          <a:bodyPr anchor="t"/>
          <a:lstStyle>
            <a:lvl1pPr marL="0" indent="0" algn="l" defTabSz="203200" rtl="0" eaLnBrk="1" latinLnBrk="0" hangingPunct="1">
              <a:lnSpc>
                <a:spcPct val="90000"/>
              </a:lnSpc>
              <a:spcBef>
                <a:spcPct val="0"/>
              </a:spcBef>
              <a:spcAft>
                <a:spcPts val="600"/>
              </a:spcAft>
              <a:buFontTx/>
              <a:buNone/>
              <a:defRPr lang="en-US" sz="2400" kern="1200" baseline="0">
                <a:solidFill>
                  <a:schemeClr val="bg1"/>
                </a:solidFill>
                <a:latin typeface="+mn-lt"/>
                <a:ea typeface="+mn-ea"/>
                <a:cs typeface="+mn-cs"/>
              </a:defRPr>
            </a:lvl1pPr>
            <a:lvl2pPr marL="0" indent="0" algn="l">
              <a:lnSpc>
                <a:spcPct val="100000"/>
              </a:lnSpc>
              <a:spcBef>
                <a:spcPct val="0"/>
              </a:spcBef>
              <a:buNone/>
              <a:defRPr sz="14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a:t>
            </a:r>
            <a:br>
              <a:rPr lang="en-US"/>
            </a:br>
            <a:r>
              <a:rPr lang="en-US"/>
              <a:t>subtitle style</a:t>
            </a:r>
          </a:p>
        </p:txBody>
      </p:sp>
      <p:sp>
        <p:nvSpPr>
          <p:cNvPr id="7" name="Title">
            <a:extLst>
              <a:ext uri="{FF2B5EF4-FFF2-40B4-BE49-F238E27FC236}">
                <a16:creationId xmlns:a16="http://schemas.microsoft.com/office/drawing/2014/main" id="{4DD6E394-341A-C7EB-4850-A929E45D2FD5}"/>
              </a:ext>
            </a:extLst>
          </p:cNvPr>
          <p:cNvSpPr>
            <a:spLocks noGrp="1"/>
          </p:cNvSpPr>
          <p:nvPr>
            <p:ph type="title"/>
          </p:nvPr>
        </p:nvSpPr>
        <p:spPr>
          <a:xfrm>
            <a:off x="550800" y="838824"/>
            <a:ext cx="3454400" cy="2123658"/>
          </a:xfrm>
          <a:custGeom>
            <a:avLst/>
            <a:gdLst>
              <a:gd name="connsiteX0" fmla="*/ 0 w 8164842"/>
              <a:gd name="connsiteY0" fmla="*/ 0 h 1944775"/>
              <a:gd name="connsiteX1" fmla="*/ 8164842 w 8164842"/>
              <a:gd name="connsiteY1" fmla="*/ 0 h 1944775"/>
              <a:gd name="connsiteX2" fmla="*/ 8164842 w 8164842"/>
              <a:gd name="connsiteY2" fmla="*/ 1944775 h 1944775"/>
              <a:gd name="connsiteX3" fmla="*/ 0 w 8164842"/>
              <a:gd name="connsiteY3" fmla="*/ 1944775 h 1944775"/>
            </a:gdLst>
            <a:ahLst/>
            <a:cxnLst>
              <a:cxn ang="0">
                <a:pos x="connsiteX0" y="connsiteY0"/>
              </a:cxn>
              <a:cxn ang="0">
                <a:pos x="connsiteX1" y="connsiteY1"/>
              </a:cxn>
              <a:cxn ang="0">
                <a:pos x="connsiteX2" y="connsiteY2"/>
              </a:cxn>
              <a:cxn ang="0">
                <a:pos x="connsiteX3" y="connsiteY3"/>
              </a:cxn>
            </a:cxnLst>
            <a:rect l="l" t="t" r="r" b="b"/>
            <a:pathLst>
              <a:path w="8164842" h="1944775">
                <a:moveTo>
                  <a:pt x="0" y="0"/>
                </a:moveTo>
                <a:lnTo>
                  <a:pt x="8164842" y="0"/>
                </a:lnTo>
                <a:lnTo>
                  <a:pt x="8164842" y="1944775"/>
                </a:lnTo>
                <a:lnTo>
                  <a:pt x="0" y="1944775"/>
                </a:lnTo>
                <a:close/>
              </a:path>
            </a:pathLst>
          </a:custGeom>
        </p:spPr>
        <p:txBody>
          <a:bodyPr vert="horz" wrap="square" lIns="0" tIns="0" rIns="0" bIns="0" rtlCol="0" anchor="t" anchorCtr="0">
            <a:noAutofit/>
          </a:bodyPr>
          <a:lstStyle>
            <a:lvl1pPr algn="l">
              <a:lnSpc>
                <a:spcPct val="100000"/>
              </a:lnSpc>
              <a:defRPr lang="de-DE" sz="4600" b="0" i="0" spc="0" baseline="0">
                <a:solidFill>
                  <a:schemeClr val="bg1"/>
                </a:solidFill>
                <a:latin typeface="+mj-lt"/>
                <a:cs typeface="Segoe UI Semilight" panose="020B0502040204020203" pitchFamily="34" charset="0"/>
              </a:defRPr>
            </a:lvl1pPr>
          </a:lstStyle>
          <a:p>
            <a:pPr lvl="0"/>
            <a:r>
              <a:rPr lang="en-US" noProof="0"/>
              <a:t>Click to edit Master title style</a:t>
            </a:r>
            <a:endParaRPr lang="de-DE" noProof="0"/>
          </a:p>
        </p:txBody>
      </p:sp>
    </p:spTree>
    <p:extLst>
      <p:ext uri="{BB962C8B-B14F-4D97-AF65-F5344CB8AC3E}">
        <p14:creationId xmlns:p14="http://schemas.microsoft.com/office/powerpoint/2010/main" val="3250422736"/>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DA">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7A49053-BE6C-1C4D-CB70-DBBAF999C807}"/>
              </a:ext>
            </a:extLst>
          </p:cNvPr>
          <p:cNvSpPr>
            <a:spLocks noGrp="1"/>
          </p:cNvSpPr>
          <p:nvPr>
            <p:ph type="pic" sz="quarter" idx="10"/>
          </p:nvPr>
        </p:nvSpPr>
        <p:spPr>
          <a:xfrm>
            <a:off x="0" y="0"/>
            <a:ext cx="12192000" cy="6858000"/>
          </a:xfrm>
          <a:custGeom>
            <a:avLst/>
            <a:gdLst>
              <a:gd name="connsiteX0" fmla="*/ 10034885 w 12192000"/>
              <a:gd name="connsiteY0" fmla="*/ 1173187 h 6858000"/>
              <a:gd name="connsiteX1" fmla="*/ 10071020 w 12192000"/>
              <a:gd name="connsiteY1" fmla="*/ 1225500 h 6858000"/>
              <a:gd name="connsiteX2" fmla="*/ 10034015 w 12192000"/>
              <a:gd name="connsiteY2" fmla="*/ 1276551 h 6858000"/>
              <a:gd name="connsiteX3" fmla="*/ 9997039 w 12192000"/>
              <a:gd name="connsiteY3" fmla="*/ 1225500 h 6858000"/>
              <a:gd name="connsiteX4" fmla="*/ 10034885 w 12192000"/>
              <a:gd name="connsiteY4" fmla="*/ 1173187 h 6858000"/>
              <a:gd name="connsiteX5" fmla="*/ 10300888 w 12192000"/>
              <a:gd name="connsiteY5" fmla="*/ 1166404 h 6858000"/>
              <a:gd name="connsiteX6" fmla="*/ 10338314 w 12192000"/>
              <a:gd name="connsiteY6" fmla="*/ 1224659 h 6858000"/>
              <a:gd name="connsiteX7" fmla="*/ 10300888 w 12192000"/>
              <a:gd name="connsiteY7" fmla="*/ 1283334 h 6858000"/>
              <a:gd name="connsiteX8" fmla="*/ 10263882 w 12192000"/>
              <a:gd name="connsiteY8" fmla="*/ 1224659 h 6858000"/>
              <a:gd name="connsiteX9" fmla="*/ 10300888 w 12192000"/>
              <a:gd name="connsiteY9" fmla="*/ 1166404 h 6858000"/>
              <a:gd name="connsiteX10" fmla="*/ 9339940 w 12192000"/>
              <a:gd name="connsiteY10" fmla="*/ 1157461 h 6858000"/>
              <a:gd name="connsiteX11" fmla="*/ 9380757 w 12192000"/>
              <a:gd name="connsiteY11" fmla="*/ 1199568 h 6858000"/>
              <a:gd name="connsiteX12" fmla="*/ 9300833 w 12192000"/>
              <a:gd name="connsiteY12" fmla="*/ 1199568 h 6858000"/>
              <a:gd name="connsiteX13" fmla="*/ 9339940 w 12192000"/>
              <a:gd name="connsiteY13" fmla="*/ 1157461 h 6858000"/>
              <a:gd name="connsiteX14" fmla="*/ 10935718 w 12192000"/>
              <a:gd name="connsiteY14" fmla="*/ 1157431 h 6858000"/>
              <a:gd name="connsiteX15" fmla="*/ 10976535 w 12192000"/>
              <a:gd name="connsiteY15" fmla="*/ 1199538 h 6858000"/>
              <a:gd name="connsiteX16" fmla="*/ 10896611 w 12192000"/>
              <a:gd name="connsiteY16" fmla="*/ 1199538 h 6858000"/>
              <a:gd name="connsiteX17" fmla="*/ 10935718 w 12192000"/>
              <a:gd name="connsiteY17" fmla="*/ 1157431 h 6858000"/>
              <a:gd name="connsiteX18" fmla="*/ 10423850 w 12192000"/>
              <a:gd name="connsiteY18" fmla="*/ 1111961 h 6858000"/>
              <a:gd name="connsiteX19" fmla="*/ 10498282 w 12192000"/>
              <a:gd name="connsiteY19" fmla="*/ 1337777 h 6858000"/>
              <a:gd name="connsiteX20" fmla="*/ 10586279 w 12192000"/>
              <a:gd name="connsiteY20" fmla="*/ 1337777 h 6858000"/>
              <a:gd name="connsiteX21" fmla="*/ 10619053 w 12192000"/>
              <a:gd name="connsiteY21" fmla="*/ 1207222 h 6858000"/>
              <a:gd name="connsiteX22" fmla="*/ 10651767 w 12192000"/>
              <a:gd name="connsiteY22" fmla="*/ 1337777 h 6858000"/>
              <a:gd name="connsiteX23" fmla="*/ 10739794 w 12192000"/>
              <a:gd name="connsiteY23" fmla="*/ 1337777 h 6858000"/>
              <a:gd name="connsiteX24" fmla="*/ 10810774 w 12192000"/>
              <a:gd name="connsiteY24" fmla="*/ 1111961 h 6858000"/>
              <a:gd name="connsiteX25" fmla="*/ 10725358 w 12192000"/>
              <a:gd name="connsiteY25" fmla="*/ 1111961 h 6858000"/>
              <a:gd name="connsiteX26" fmla="*/ 10691774 w 12192000"/>
              <a:gd name="connsiteY26" fmla="*/ 1249750 h 6858000"/>
              <a:gd name="connsiteX27" fmla="*/ 10656899 w 12192000"/>
              <a:gd name="connsiteY27" fmla="*/ 1111961 h 6858000"/>
              <a:gd name="connsiteX28" fmla="*/ 10581207 w 12192000"/>
              <a:gd name="connsiteY28" fmla="*/ 1111961 h 6858000"/>
              <a:gd name="connsiteX29" fmla="*/ 10546332 w 12192000"/>
              <a:gd name="connsiteY29" fmla="*/ 1249750 h 6858000"/>
              <a:gd name="connsiteX30" fmla="*/ 10512718 w 12192000"/>
              <a:gd name="connsiteY30" fmla="*/ 1111961 h 6858000"/>
              <a:gd name="connsiteX31" fmla="*/ 10062497 w 12192000"/>
              <a:gd name="connsiteY31" fmla="*/ 1106019 h 6858000"/>
              <a:gd name="connsiteX32" fmla="*/ 9989386 w 12192000"/>
              <a:gd name="connsiteY32" fmla="*/ 1140894 h 6858000"/>
              <a:gd name="connsiteX33" fmla="*/ 9989386 w 12192000"/>
              <a:gd name="connsiteY33" fmla="*/ 1111961 h 6858000"/>
              <a:gd name="connsiteX34" fmla="*/ 9909882 w 12192000"/>
              <a:gd name="connsiteY34" fmla="*/ 1111961 h 6858000"/>
              <a:gd name="connsiteX35" fmla="*/ 9909882 w 12192000"/>
              <a:gd name="connsiteY35" fmla="*/ 1428325 h 6858000"/>
              <a:gd name="connsiteX36" fmla="*/ 9997039 w 12192000"/>
              <a:gd name="connsiteY36" fmla="*/ 1428325 h 6858000"/>
              <a:gd name="connsiteX37" fmla="*/ 9997039 w 12192000"/>
              <a:gd name="connsiteY37" fmla="*/ 1316498 h 6858000"/>
              <a:gd name="connsiteX38" fmla="*/ 10060816 w 12192000"/>
              <a:gd name="connsiteY38" fmla="*/ 1345400 h 6858000"/>
              <a:gd name="connsiteX39" fmla="*/ 10160758 w 12192000"/>
              <a:gd name="connsiteY39" fmla="*/ 1225500 h 6858000"/>
              <a:gd name="connsiteX40" fmla="*/ 10062526 w 12192000"/>
              <a:gd name="connsiteY40" fmla="*/ 1106019 h 6858000"/>
              <a:gd name="connsiteX41" fmla="*/ 11241367 w 12192000"/>
              <a:gd name="connsiteY41" fmla="*/ 1105989 h 6858000"/>
              <a:gd name="connsiteX42" fmla="*/ 11171197 w 12192000"/>
              <a:gd name="connsiteY42" fmla="*/ 1153199 h 6858000"/>
              <a:gd name="connsiteX43" fmla="*/ 11171197 w 12192000"/>
              <a:gd name="connsiteY43" fmla="*/ 1111931 h 6858000"/>
              <a:gd name="connsiteX44" fmla="*/ 11088272 w 12192000"/>
              <a:gd name="connsiteY44" fmla="*/ 1111931 h 6858000"/>
              <a:gd name="connsiteX45" fmla="*/ 11088272 w 12192000"/>
              <a:gd name="connsiteY45" fmla="*/ 1337747 h 6858000"/>
              <a:gd name="connsiteX46" fmla="*/ 11178401 w 12192000"/>
              <a:gd name="connsiteY46" fmla="*/ 1337747 h 6858000"/>
              <a:gd name="connsiteX47" fmla="*/ 11178401 w 12192000"/>
              <a:gd name="connsiteY47" fmla="*/ 1245068 h 6858000"/>
              <a:gd name="connsiteX48" fmla="*/ 11231133 w 12192000"/>
              <a:gd name="connsiteY48" fmla="*/ 1194436 h 6858000"/>
              <a:gd name="connsiteX49" fmla="*/ 11249441 w 12192000"/>
              <a:gd name="connsiteY49" fmla="*/ 1195727 h 6858000"/>
              <a:gd name="connsiteX50" fmla="*/ 11249441 w 12192000"/>
              <a:gd name="connsiteY50" fmla="*/ 1105989 h 6858000"/>
              <a:gd name="connsiteX51" fmla="*/ 9794543 w 12192000"/>
              <a:gd name="connsiteY51" fmla="*/ 1104818 h 6858000"/>
              <a:gd name="connsiteX52" fmla="*/ 9750724 w 12192000"/>
              <a:gd name="connsiteY52" fmla="*/ 1114392 h 6858000"/>
              <a:gd name="connsiteX53" fmla="*/ 9714949 w 12192000"/>
              <a:gd name="connsiteY53" fmla="*/ 1144375 h 6858000"/>
              <a:gd name="connsiteX54" fmla="*/ 9686317 w 12192000"/>
              <a:gd name="connsiteY54" fmla="*/ 1114602 h 6858000"/>
              <a:gd name="connsiteX55" fmla="*/ 9648171 w 12192000"/>
              <a:gd name="connsiteY55" fmla="*/ 1105238 h 6858000"/>
              <a:gd name="connsiteX56" fmla="*/ 9605372 w 12192000"/>
              <a:gd name="connsiteY56" fmla="*/ 1114813 h 6858000"/>
              <a:gd name="connsiteX57" fmla="*/ 9571878 w 12192000"/>
              <a:gd name="connsiteY57" fmla="*/ 1144405 h 6858000"/>
              <a:gd name="connsiteX58" fmla="*/ 9571878 w 12192000"/>
              <a:gd name="connsiteY58" fmla="*/ 1111301 h 6858000"/>
              <a:gd name="connsiteX59" fmla="*/ 9490634 w 12192000"/>
              <a:gd name="connsiteY59" fmla="*/ 1111301 h 6858000"/>
              <a:gd name="connsiteX60" fmla="*/ 9490634 w 12192000"/>
              <a:gd name="connsiteY60" fmla="*/ 1337777 h 6858000"/>
              <a:gd name="connsiteX61" fmla="*/ 9578721 w 12192000"/>
              <a:gd name="connsiteY61" fmla="*/ 1337777 h 6858000"/>
              <a:gd name="connsiteX62" fmla="*/ 9578721 w 12192000"/>
              <a:gd name="connsiteY62" fmla="*/ 1216105 h 6858000"/>
              <a:gd name="connsiteX63" fmla="*/ 9586464 w 12192000"/>
              <a:gd name="connsiteY63" fmla="*/ 1186303 h 6858000"/>
              <a:gd name="connsiteX64" fmla="*/ 9609094 w 12192000"/>
              <a:gd name="connsiteY64" fmla="*/ 1176098 h 6858000"/>
              <a:gd name="connsiteX65" fmla="*/ 9633164 w 12192000"/>
              <a:gd name="connsiteY65" fmla="*/ 1186213 h 6858000"/>
              <a:gd name="connsiteX66" fmla="*/ 9640517 w 12192000"/>
              <a:gd name="connsiteY66" fmla="*/ 1219647 h 6858000"/>
              <a:gd name="connsiteX67" fmla="*/ 9640517 w 12192000"/>
              <a:gd name="connsiteY67" fmla="*/ 1337777 h 6858000"/>
              <a:gd name="connsiteX68" fmla="*/ 9728184 w 12192000"/>
              <a:gd name="connsiteY68" fmla="*/ 1337777 h 6858000"/>
              <a:gd name="connsiteX69" fmla="*/ 9728184 w 12192000"/>
              <a:gd name="connsiteY69" fmla="*/ 1217366 h 6858000"/>
              <a:gd name="connsiteX70" fmla="*/ 9735838 w 12192000"/>
              <a:gd name="connsiteY70" fmla="*/ 1186123 h 6858000"/>
              <a:gd name="connsiteX71" fmla="*/ 9759818 w 12192000"/>
              <a:gd name="connsiteY71" fmla="*/ 1176098 h 6858000"/>
              <a:gd name="connsiteX72" fmla="*/ 9782868 w 12192000"/>
              <a:gd name="connsiteY72" fmla="*/ 1185703 h 6858000"/>
              <a:gd name="connsiteX73" fmla="*/ 9790011 w 12192000"/>
              <a:gd name="connsiteY73" fmla="*/ 1216526 h 6858000"/>
              <a:gd name="connsiteX74" fmla="*/ 9790011 w 12192000"/>
              <a:gd name="connsiteY74" fmla="*/ 1337777 h 6858000"/>
              <a:gd name="connsiteX75" fmla="*/ 9878068 w 12192000"/>
              <a:gd name="connsiteY75" fmla="*/ 1337777 h 6858000"/>
              <a:gd name="connsiteX76" fmla="*/ 9878068 w 12192000"/>
              <a:gd name="connsiteY76" fmla="*/ 1183392 h 6858000"/>
              <a:gd name="connsiteX77" fmla="*/ 9856159 w 12192000"/>
              <a:gd name="connsiteY77" fmla="*/ 1125467 h 6858000"/>
              <a:gd name="connsiteX78" fmla="*/ 9794543 w 12192000"/>
              <a:gd name="connsiteY78" fmla="*/ 1104848 h 6858000"/>
              <a:gd name="connsiteX79" fmla="*/ 10300888 w 12192000"/>
              <a:gd name="connsiteY79" fmla="*/ 1103918 h 6858000"/>
              <a:gd name="connsiteX80" fmla="*/ 10173334 w 12192000"/>
              <a:gd name="connsiteY80" fmla="*/ 1224659 h 6858000"/>
              <a:gd name="connsiteX81" fmla="*/ 10300888 w 12192000"/>
              <a:gd name="connsiteY81" fmla="*/ 1345850 h 6858000"/>
              <a:gd name="connsiteX82" fmla="*/ 10428442 w 12192000"/>
              <a:gd name="connsiteY82" fmla="*/ 1224659 h 6858000"/>
              <a:gd name="connsiteX83" fmla="*/ 10300888 w 12192000"/>
              <a:gd name="connsiteY83" fmla="*/ 1103918 h 6858000"/>
              <a:gd name="connsiteX84" fmla="*/ 9340780 w 12192000"/>
              <a:gd name="connsiteY84" fmla="*/ 1103918 h 6858000"/>
              <a:gd name="connsiteX85" fmla="*/ 9211095 w 12192000"/>
              <a:gd name="connsiteY85" fmla="*/ 1226790 h 6858000"/>
              <a:gd name="connsiteX86" fmla="*/ 9337359 w 12192000"/>
              <a:gd name="connsiteY86" fmla="*/ 1345850 h 6858000"/>
              <a:gd name="connsiteX87" fmla="*/ 9461942 w 12192000"/>
              <a:gd name="connsiteY87" fmla="*/ 1271029 h 6858000"/>
              <a:gd name="connsiteX88" fmla="*/ 9376045 w 12192000"/>
              <a:gd name="connsiteY88" fmla="*/ 1271029 h 6858000"/>
              <a:gd name="connsiteX89" fmla="*/ 9342431 w 12192000"/>
              <a:gd name="connsiteY89" fmla="*/ 1289757 h 6858000"/>
              <a:gd name="connsiteX90" fmla="*/ 9300773 w 12192000"/>
              <a:gd name="connsiteY90" fmla="*/ 1244677 h 6858000"/>
              <a:gd name="connsiteX91" fmla="*/ 9469144 w 12192000"/>
              <a:gd name="connsiteY91" fmla="*/ 1244677 h 6858000"/>
              <a:gd name="connsiteX92" fmla="*/ 9469144 w 12192000"/>
              <a:gd name="connsiteY92" fmla="*/ 1239155 h 6858000"/>
              <a:gd name="connsiteX93" fmla="*/ 9340720 w 12192000"/>
              <a:gd name="connsiteY93" fmla="*/ 1103948 h 6858000"/>
              <a:gd name="connsiteX94" fmla="*/ 10936558 w 12192000"/>
              <a:gd name="connsiteY94" fmla="*/ 1103888 h 6858000"/>
              <a:gd name="connsiteX95" fmla="*/ 10806873 w 12192000"/>
              <a:gd name="connsiteY95" fmla="*/ 1226760 h 6858000"/>
              <a:gd name="connsiteX96" fmla="*/ 10933136 w 12192000"/>
              <a:gd name="connsiteY96" fmla="*/ 1345821 h 6858000"/>
              <a:gd name="connsiteX97" fmla="*/ 11057719 w 12192000"/>
              <a:gd name="connsiteY97" fmla="*/ 1270999 h 6858000"/>
              <a:gd name="connsiteX98" fmla="*/ 10971823 w 12192000"/>
              <a:gd name="connsiteY98" fmla="*/ 1270999 h 6858000"/>
              <a:gd name="connsiteX99" fmla="*/ 10938209 w 12192000"/>
              <a:gd name="connsiteY99" fmla="*/ 1289727 h 6858000"/>
              <a:gd name="connsiteX100" fmla="*/ 10896551 w 12192000"/>
              <a:gd name="connsiteY100" fmla="*/ 1244648 h 6858000"/>
              <a:gd name="connsiteX101" fmla="*/ 11064922 w 12192000"/>
              <a:gd name="connsiteY101" fmla="*/ 1244648 h 6858000"/>
              <a:gd name="connsiteX102" fmla="*/ 11064922 w 12192000"/>
              <a:gd name="connsiteY102" fmla="*/ 1239125 h 6858000"/>
              <a:gd name="connsiteX103" fmla="*/ 10936498 w 12192000"/>
              <a:gd name="connsiteY103" fmla="*/ 1103918 h 6858000"/>
              <a:gd name="connsiteX104" fmla="*/ 11328404 w 12192000"/>
              <a:gd name="connsiteY104" fmla="*/ 1029276 h 6858000"/>
              <a:gd name="connsiteX105" fmla="*/ 11320841 w 12192000"/>
              <a:gd name="connsiteY105" fmla="*/ 1036839 h 6858000"/>
              <a:gd name="connsiteX106" fmla="*/ 11320841 w 12192000"/>
              <a:gd name="connsiteY106" fmla="*/ 1092843 h 6858000"/>
              <a:gd name="connsiteX107" fmla="*/ 11328404 w 12192000"/>
              <a:gd name="connsiteY107" fmla="*/ 1100436 h 6858000"/>
              <a:gd name="connsiteX108" fmla="*/ 11384288 w 12192000"/>
              <a:gd name="connsiteY108" fmla="*/ 1100436 h 6858000"/>
              <a:gd name="connsiteX109" fmla="*/ 11391881 w 12192000"/>
              <a:gd name="connsiteY109" fmla="*/ 1092873 h 6858000"/>
              <a:gd name="connsiteX110" fmla="*/ 11391881 w 12192000"/>
              <a:gd name="connsiteY110" fmla="*/ 1036839 h 6858000"/>
              <a:gd name="connsiteX111" fmla="*/ 11384288 w 12192000"/>
              <a:gd name="connsiteY111" fmla="*/ 1029276 h 6858000"/>
              <a:gd name="connsiteX112" fmla="*/ 11429547 w 12192000"/>
              <a:gd name="connsiteY112" fmla="*/ 1029246 h 6858000"/>
              <a:gd name="connsiteX113" fmla="*/ 11421954 w 12192000"/>
              <a:gd name="connsiteY113" fmla="*/ 1036809 h 6858000"/>
              <a:gd name="connsiteX114" fmla="*/ 11421954 w 12192000"/>
              <a:gd name="connsiteY114" fmla="*/ 1163973 h 6858000"/>
              <a:gd name="connsiteX115" fmla="*/ 11429547 w 12192000"/>
              <a:gd name="connsiteY115" fmla="*/ 1171566 h 6858000"/>
              <a:gd name="connsiteX116" fmla="*/ 11556681 w 12192000"/>
              <a:gd name="connsiteY116" fmla="*/ 1171566 h 6858000"/>
              <a:gd name="connsiteX117" fmla="*/ 11564244 w 12192000"/>
              <a:gd name="connsiteY117" fmla="*/ 1163973 h 6858000"/>
              <a:gd name="connsiteX118" fmla="*/ 11564244 w 12192000"/>
              <a:gd name="connsiteY118" fmla="*/ 1036809 h 6858000"/>
              <a:gd name="connsiteX119" fmla="*/ 11556681 w 12192000"/>
              <a:gd name="connsiteY119" fmla="*/ 1029246 h 6858000"/>
              <a:gd name="connsiteX120" fmla="*/ 11257184 w 12192000"/>
              <a:gd name="connsiteY120" fmla="*/ 856823 h 6858000"/>
              <a:gd name="connsiteX121" fmla="*/ 11249591 w 12192000"/>
              <a:gd name="connsiteY121" fmla="*/ 864416 h 6858000"/>
              <a:gd name="connsiteX122" fmla="*/ 11249591 w 12192000"/>
              <a:gd name="connsiteY122" fmla="*/ 991550 h 6858000"/>
              <a:gd name="connsiteX123" fmla="*/ 11257184 w 12192000"/>
              <a:gd name="connsiteY123" fmla="*/ 999143 h 6858000"/>
              <a:gd name="connsiteX124" fmla="*/ 11384318 w 12192000"/>
              <a:gd name="connsiteY124" fmla="*/ 999143 h 6858000"/>
              <a:gd name="connsiteX125" fmla="*/ 11391911 w 12192000"/>
              <a:gd name="connsiteY125" fmla="*/ 991550 h 6858000"/>
              <a:gd name="connsiteX126" fmla="*/ 11391911 w 12192000"/>
              <a:gd name="connsiteY126" fmla="*/ 864416 h 6858000"/>
              <a:gd name="connsiteX127" fmla="*/ 11384318 w 12192000"/>
              <a:gd name="connsiteY127" fmla="*/ 856823 h 6858000"/>
              <a:gd name="connsiteX128" fmla="*/ 11429457 w 12192000"/>
              <a:gd name="connsiteY128" fmla="*/ 767925 h 6858000"/>
              <a:gd name="connsiteX129" fmla="*/ 11421864 w 12192000"/>
              <a:gd name="connsiteY129" fmla="*/ 775518 h 6858000"/>
              <a:gd name="connsiteX130" fmla="*/ 11421924 w 12192000"/>
              <a:gd name="connsiteY130" fmla="*/ 991550 h 6858000"/>
              <a:gd name="connsiteX131" fmla="*/ 11429517 w 12192000"/>
              <a:gd name="connsiteY131" fmla="*/ 999143 h 6858000"/>
              <a:gd name="connsiteX132" fmla="*/ 11645609 w 12192000"/>
              <a:gd name="connsiteY132" fmla="*/ 999143 h 6858000"/>
              <a:gd name="connsiteX133" fmla="*/ 11653202 w 12192000"/>
              <a:gd name="connsiteY133" fmla="*/ 991550 h 6858000"/>
              <a:gd name="connsiteX134" fmla="*/ 11653202 w 12192000"/>
              <a:gd name="connsiteY134" fmla="*/ 883564 h 6858000"/>
              <a:gd name="connsiteX135" fmla="*/ 11537533 w 12192000"/>
              <a:gd name="connsiteY135" fmla="*/ 767925 h 6858000"/>
              <a:gd name="connsiteX136" fmla="*/ 4860000 w 12192000"/>
              <a:gd name="connsiteY136" fmla="*/ 0 h 6858000"/>
              <a:gd name="connsiteX137" fmla="*/ 12192000 w 12192000"/>
              <a:gd name="connsiteY137" fmla="*/ 0 h 6858000"/>
              <a:gd name="connsiteX138" fmla="*/ 12192000 w 12192000"/>
              <a:gd name="connsiteY138" fmla="*/ 6858000 h 6858000"/>
              <a:gd name="connsiteX139" fmla="*/ 0 w 12192000"/>
              <a:gd name="connsiteY139" fmla="*/ 6858000 h 6858000"/>
              <a:gd name="connsiteX140" fmla="*/ 0 w 12192000"/>
              <a:gd name="connsiteY140" fmla="*/ 4644000 h 6858000"/>
              <a:gd name="connsiteX141" fmla="*/ 4860000 w 12192000"/>
              <a:gd name="connsiteY141" fmla="*/ 4644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2192000" h="6858000">
                <a:moveTo>
                  <a:pt x="10034885" y="1173187"/>
                </a:moveTo>
                <a:cubicBezTo>
                  <a:pt x="10059556" y="1173187"/>
                  <a:pt x="10071020" y="1190204"/>
                  <a:pt x="10071020" y="1225500"/>
                </a:cubicBezTo>
                <a:cubicBezTo>
                  <a:pt x="10071020" y="1260795"/>
                  <a:pt x="10058265" y="1276551"/>
                  <a:pt x="10034015" y="1276551"/>
                </a:cubicBezTo>
                <a:cubicBezTo>
                  <a:pt x="10009374" y="1276551"/>
                  <a:pt x="9997039" y="1259534"/>
                  <a:pt x="9997039" y="1225500"/>
                </a:cubicBezTo>
                <a:cubicBezTo>
                  <a:pt x="9997039" y="1189784"/>
                  <a:pt x="10008084" y="1173187"/>
                  <a:pt x="10034885" y="1173187"/>
                </a:cubicBezTo>
                <a:close/>
                <a:moveTo>
                  <a:pt x="10300888" y="1166404"/>
                </a:moveTo>
                <a:cubicBezTo>
                  <a:pt x="10328110" y="1166404"/>
                  <a:pt x="10338314" y="1184712"/>
                  <a:pt x="10338314" y="1224659"/>
                </a:cubicBezTo>
                <a:cubicBezTo>
                  <a:pt x="10338314" y="1264606"/>
                  <a:pt x="10328110" y="1283334"/>
                  <a:pt x="10300888" y="1283334"/>
                </a:cubicBezTo>
                <a:cubicBezTo>
                  <a:pt x="10273666" y="1283334"/>
                  <a:pt x="10263882" y="1264636"/>
                  <a:pt x="10263882" y="1224659"/>
                </a:cubicBezTo>
                <a:cubicBezTo>
                  <a:pt x="10263882" y="1184682"/>
                  <a:pt x="10273666" y="1166404"/>
                  <a:pt x="10300888" y="1166404"/>
                </a:cubicBezTo>
                <a:close/>
                <a:moveTo>
                  <a:pt x="9339940" y="1157461"/>
                </a:moveTo>
                <a:cubicBezTo>
                  <a:pt x="9365451" y="1157461"/>
                  <a:pt x="9379046" y="1171506"/>
                  <a:pt x="9380757" y="1199568"/>
                </a:cubicBezTo>
                <a:lnTo>
                  <a:pt x="9300833" y="1199568"/>
                </a:lnTo>
                <a:cubicBezTo>
                  <a:pt x="9302064" y="1172797"/>
                  <a:pt x="9316560" y="1157461"/>
                  <a:pt x="9339940" y="1157461"/>
                </a:cubicBezTo>
                <a:close/>
                <a:moveTo>
                  <a:pt x="10935718" y="1157431"/>
                </a:moveTo>
                <a:cubicBezTo>
                  <a:pt x="10961228" y="1157431"/>
                  <a:pt x="10974824" y="1171477"/>
                  <a:pt x="10976535" y="1199538"/>
                </a:cubicBezTo>
                <a:lnTo>
                  <a:pt x="10896611" y="1199538"/>
                </a:lnTo>
                <a:cubicBezTo>
                  <a:pt x="10897842" y="1172767"/>
                  <a:pt x="10912338" y="1157431"/>
                  <a:pt x="10935718" y="1157431"/>
                </a:cubicBezTo>
                <a:close/>
                <a:moveTo>
                  <a:pt x="10423850" y="1111961"/>
                </a:moveTo>
                <a:lnTo>
                  <a:pt x="10498282" y="1337777"/>
                </a:lnTo>
                <a:lnTo>
                  <a:pt x="10586279" y="1337777"/>
                </a:lnTo>
                <a:lnTo>
                  <a:pt x="10619053" y="1207222"/>
                </a:lnTo>
                <a:lnTo>
                  <a:pt x="10651767" y="1337777"/>
                </a:lnTo>
                <a:lnTo>
                  <a:pt x="10739794" y="1337777"/>
                </a:lnTo>
                <a:lnTo>
                  <a:pt x="10810774" y="1111961"/>
                </a:lnTo>
                <a:lnTo>
                  <a:pt x="10725358" y="1111961"/>
                </a:lnTo>
                <a:lnTo>
                  <a:pt x="10691774" y="1249750"/>
                </a:lnTo>
                <a:lnTo>
                  <a:pt x="10656899" y="1111961"/>
                </a:lnTo>
                <a:lnTo>
                  <a:pt x="10581207" y="1111961"/>
                </a:lnTo>
                <a:lnTo>
                  <a:pt x="10546332" y="1249750"/>
                </a:lnTo>
                <a:lnTo>
                  <a:pt x="10512718" y="1111961"/>
                </a:lnTo>
                <a:close/>
                <a:moveTo>
                  <a:pt x="10062497" y="1106019"/>
                </a:moveTo>
                <a:cubicBezTo>
                  <a:pt x="10030203" y="1106019"/>
                  <a:pt x="10007243" y="1116643"/>
                  <a:pt x="9989386" y="1140894"/>
                </a:cubicBezTo>
                <a:lnTo>
                  <a:pt x="9989386" y="1111961"/>
                </a:lnTo>
                <a:lnTo>
                  <a:pt x="9909882" y="1111961"/>
                </a:lnTo>
                <a:lnTo>
                  <a:pt x="9909882" y="1428325"/>
                </a:lnTo>
                <a:lnTo>
                  <a:pt x="9997039" y="1428325"/>
                </a:lnTo>
                <a:lnTo>
                  <a:pt x="9997039" y="1316498"/>
                </a:lnTo>
                <a:cubicBezTo>
                  <a:pt x="10012766" y="1336486"/>
                  <a:pt x="10033174" y="1345400"/>
                  <a:pt x="10060816" y="1345400"/>
                </a:cubicBezTo>
                <a:cubicBezTo>
                  <a:pt x="10121202" y="1345400"/>
                  <a:pt x="10160758" y="1299031"/>
                  <a:pt x="10160758" y="1225500"/>
                </a:cubicBezTo>
                <a:cubicBezTo>
                  <a:pt x="10160758" y="1151968"/>
                  <a:pt x="10119941" y="1106019"/>
                  <a:pt x="10062526" y="1106019"/>
                </a:cubicBezTo>
                <a:close/>
                <a:moveTo>
                  <a:pt x="11241367" y="1105989"/>
                </a:moveTo>
                <a:cubicBezTo>
                  <a:pt x="11204782" y="1105989"/>
                  <a:pt x="11183113" y="1120005"/>
                  <a:pt x="11171197" y="1153199"/>
                </a:cubicBezTo>
                <a:lnTo>
                  <a:pt x="11171197" y="1111931"/>
                </a:lnTo>
                <a:lnTo>
                  <a:pt x="11088272" y="1111931"/>
                </a:lnTo>
                <a:lnTo>
                  <a:pt x="11088272" y="1337747"/>
                </a:lnTo>
                <a:lnTo>
                  <a:pt x="11178401" y="1337747"/>
                </a:lnTo>
                <a:lnTo>
                  <a:pt x="11178401" y="1245068"/>
                </a:lnTo>
                <a:cubicBezTo>
                  <a:pt x="11178401" y="1210193"/>
                  <a:pt x="11194998" y="1194436"/>
                  <a:pt x="11231133" y="1194436"/>
                </a:cubicBezTo>
                <a:cubicBezTo>
                  <a:pt x="11236655" y="1194436"/>
                  <a:pt x="11242628" y="1194887"/>
                  <a:pt x="11249441" y="1195727"/>
                </a:cubicBezTo>
                <a:lnTo>
                  <a:pt x="11249441" y="1105989"/>
                </a:lnTo>
                <a:close/>
                <a:moveTo>
                  <a:pt x="9794543" y="1104818"/>
                </a:moveTo>
                <a:cubicBezTo>
                  <a:pt x="9778276" y="1104818"/>
                  <a:pt x="9763660" y="1108030"/>
                  <a:pt x="9750724" y="1114392"/>
                </a:cubicBezTo>
                <a:cubicBezTo>
                  <a:pt x="9737759" y="1120785"/>
                  <a:pt x="9725844" y="1130779"/>
                  <a:pt x="9714949" y="1144375"/>
                </a:cubicBezTo>
                <a:cubicBezTo>
                  <a:pt x="9706545" y="1130779"/>
                  <a:pt x="9697002" y="1120845"/>
                  <a:pt x="9686317" y="1114602"/>
                </a:cubicBezTo>
                <a:cubicBezTo>
                  <a:pt x="9675632" y="1108360"/>
                  <a:pt x="9662907" y="1105238"/>
                  <a:pt x="9648171" y="1105238"/>
                </a:cubicBezTo>
                <a:cubicBezTo>
                  <a:pt x="9632054" y="1105238"/>
                  <a:pt x="9617768" y="1108420"/>
                  <a:pt x="9605372" y="1114813"/>
                </a:cubicBezTo>
                <a:cubicBezTo>
                  <a:pt x="9592977" y="1121205"/>
                  <a:pt x="9581812" y="1131049"/>
                  <a:pt x="9571878" y="1144405"/>
                </a:cubicBezTo>
                <a:lnTo>
                  <a:pt x="9571878" y="1111301"/>
                </a:lnTo>
                <a:lnTo>
                  <a:pt x="9490634" y="1111301"/>
                </a:lnTo>
                <a:lnTo>
                  <a:pt x="9490634" y="1337777"/>
                </a:lnTo>
                <a:lnTo>
                  <a:pt x="9578721" y="1337777"/>
                </a:lnTo>
                <a:lnTo>
                  <a:pt x="9578721" y="1216105"/>
                </a:lnTo>
                <a:cubicBezTo>
                  <a:pt x="9578721" y="1203050"/>
                  <a:pt x="9581302" y="1193116"/>
                  <a:pt x="9586464" y="1186303"/>
                </a:cubicBezTo>
                <a:cubicBezTo>
                  <a:pt x="9591627" y="1179490"/>
                  <a:pt x="9599190" y="1176098"/>
                  <a:pt x="9609094" y="1176098"/>
                </a:cubicBezTo>
                <a:cubicBezTo>
                  <a:pt x="9620259" y="1176098"/>
                  <a:pt x="9628272" y="1179460"/>
                  <a:pt x="9633164" y="1186213"/>
                </a:cubicBezTo>
                <a:cubicBezTo>
                  <a:pt x="9638056" y="1192966"/>
                  <a:pt x="9640517" y="1204100"/>
                  <a:pt x="9640517" y="1219647"/>
                </a:cubicBezTo>
                <a:lnTo>
                  <a:pt x="9640517" y="1337777"/>
                </a:lnTo>
                <a:lnTo>
                  <a:pt x="9728184" y="1337777"/>
                </a:lnTo>
                <a:lnTo>
                  <a:pt x="9728184" y="1217366"/>
                </a:lnTo>
                <a:cubicBezTo>
                  <a:pt x="9728184" y="1203200"/>
                  <a:pt x="9730736" y="1192786"/>
                  <a:pt x="9735838" y="1186123"/>
                </a:cubicBezTo>
                <a:cubicBezTo>
                  <a:pt x="9740940" y="1179460"/>
                  <a:pt x="9748923" y="1176098"/>
                  <a:pt x="9759818" y="1176098"/>
                </a:cubicBezTo>
                <a:cubicBezTo>
                  <a:pt x="9770713" y="1176098"/>
                  <a:pt x="9778126" y="1179310"/>
                  <a:pt x="9782868" y="1185703"/>
                </a:cubicBezTo>
                <a:cubicBezTo>
                  <a:pt x="9787610" y="1192095"/>
                  <a:pt x="9790011" y="1202360"/>
                  <a:pt x="9790011" y="1216526"/>
                </a:cubicBezTo>
                <a:lnTo>
                  <a:pt x="9790011" y="1337777"/>
                </a:lnTo>
                <a:lnTo>
                  <a:pt x="9878068" y="1337777"/>
                </a:lnTo>
                <a:lnTo>
                  <a:pt x="9878068" y="1183392"/>
                </a:lnTo>
                <a:cubicBezTo>
                  <a:pt x="9878068" y="1158541"/>
                  <a:pt x="9870775" y="1139213"/>
                  <a:pt x="9856159" y="1125467"/>
                </a:cubicBezTo>
                <a:cubicBezTo>
                  <a:pt x="9841543" y="1111721"/>
                  <a:pt x="9821014" y="1104848"/>
                  <a:pt x="9794543" y="1104848"/>
                </a:cubicBezTo>
                <a:close/>
                <a:moveTo>
                  <a:pt x="10300888" y="1103918"/>
                </a:moveTo>
                <a:cubicBezTo>
                  <a:pt x="10221384" y="1103918"/>
                  <a:pt x="10173334" y="1149807"/>
                  <a:pt x="10173334" y="1224659"/>
                </a:cubicBezTo>
                <a:cubicBezTo>
                  <a:pt x="10173334" y="1299511"/>
                  <a:pt x="10221384" y="1345850"/>
                  <a:pt x="10300888" y="1345850"/>
                </a:cubicBezTo>
                <a:cubicBezTo>
                  <a:pt x="10380392" y="1345850"/>
                  <a:pt x="10428442" y="1299511"/>
                  <a:pt x="10428442" y="1224659"/>
                </a:cubicBezTo>
                <a:cubicBezTo>
                  <a:pt x="10428442" y="1149807"/>
                  <a:pt x="10380392" y="1103918"/>
                  <a:pt x="10300888" y="1103918"/>
                </a:cubicBezTo>
                <a:close/>
                <a:moveTo>
                  <a:pt x="9340780" y="1103918"/>
                </a:moveTo>
                <a:cubicBezTo>
                  <a:pt x="9260436" y="1103918"/>
                  <a:pt x="9211095" y="1151098"/>
                  <a:pt x="9211095" y="1226790"/>
                </a:cubicBezTo>
                <a:cubicBezTo>
                  <a:pt x="9211095" y="1302482"/>
                  <a:pt x="9259145" y="1345850"/>
                  <a:pt x="9337359" y="1345850"/>
                </a:cubicBezTo>
                <a:cubicBezTo>
                  <a:pt x="9407108" y="1345850"/>
                  <a:pt x="9449636" y="1319919"/>
                  <a:pt x="9461942" y="1271029"/>
                </a:cubicBezTo>
                <a:lnTo>
                  <a:pt x="9376045" y="1271029"/>
                </a:lnTo>
                <a:cubicBezTo>
                  <a:pt x="9371783" y="1282944"/>
                  <a:pt x="9359898" y="1289757"/>
                  <a:pt x="9342431" y="1289757"/>
                </a:cubicBezTo>
                <a:cubicBezTo>
                  <a:pt x="9316500" y="1289757"/>
                  <a:pt x="9301613" y="1273610"/>
                  <a:pt x="9300773" y="1244677"/>
                </a:cubicBezTo>
                <a:lnTo>
                  <a:pt x="9469144" y="1244677"/>
                </a:lnTo>
                <a:lnTo>
                  <a:pt x="9469144" y="1239155"/>
                </a:lnTo>
                <a:cubicBezTo>
                  <a:pt x="9469144" y="1154099"/>
                  <a:pt x="9420674" y="1103948"/>
                  <a:pt x="9340720" y="1103948"/>
                </a:cubicBezTo>
                <a:close/>
                <a:moveTo>
                  <a:pt x="10936558" y="1103888"/>
                </a:moveTo>
                <a:cubicBezTo>
                  <a:pt x="10856214" y="1103888"/>
                  <a:pt x="10806873" y="1151068"/>
                  <a:pt x="10806873" y="1226760"/>
                </a:cubicBezTo>
                <a:cubicBezTo>
                  <a:pt x="10806873" y="1302452"/>
                  <a:pt x="10854923" y="1345821"/>
                  <a:pt x="10933136" y="1345821"/>
                </a:cubicBezTo>
                <a:cubicBezTo>
                  <a:pt x="11002886" y="1345821"/>
                  <a:pt x="11045414" y="1319890"/>
                  <a:pt x="11057719" y="1270999"/>
                </a:cubicBezTo>
                <a:lnTo>
                  <a:pt x="10971823" y="1270999"/>
                </a:lnTo>
                <a:cubicBezTo>
                  <a:pt x="10967561" y="1282914"/>
                  <a:pt x="10955646" y="1289727"/>
                  <a:pt x="10938209" y="1289727"/>
                </a:cubicBezTo>
                <a:cubicBezTo>
                  <a:pt x="10912278" y="1289727"/>
                  <a:pt x="10897391" y="1273580"/>
                  <a:pt x="10896551" y="1244648"/>
                </a:cubicBezTo>
                <a:lnTo>
                  <a:pt x="11064922" y="1244648"/>
                </a:lnTo>
                <a:lnTo>
                  <a:pt x="11064922" y="1239125"/>
                </a:lnTo>
                <a:cubicBezTo>
                  <a:pt x="11064922" y="1154069"/>
                  <a:pt x="11016452" y="1103918"/>
                  <a:pt x="10936498" y="1103918"/>
                </a:cubicBezTo>
                <a:close/>
                <a:moveTo>
                  <a:pt x="11328404" y="1029276"/>
                </a:moveTo>
                <a:lnTo>
                  <a:pt x="11320841" y="1036839"/>
                </a:lnTo>
                <a:lnTo>
                  <a:pt x="11320841" y="1092843"/>
                </a:lnTo>
                <a:lnTo>
                  <a:pt x="11328404" y="1100436"/>
                </a:lnTo>
                <a:lnTo>
                  <a:pt x="11384288" y="1100436"/>
                </a:lnTo>
                <a:lnTo>
                  <a:pt x="11391881" y="1092873"/>
                </a:lnTo>
                <a:lnTo>
                  <a:pt x="11391881" y="1036839"/>
                </a:lnTo>
                <a:lnTo>
                  <a:pt x="11384288" y="1029276"/>
                </a:lnTo>
                <a:close/>
                <a:moveTo>
                  <a:pt x="11429547" y="1029246"/>
                </a:moveTo>
                <a:lnTo>
                  <a:pt x="11421954" y="1036809"/>
                </a:lnTo>
                <a:lnTo>
                  <a:pt x="11421954" y="1163973"/>
                </a:lnTo>
                <a:lnTo>
                  <a:pt x="11429547" y="1171566"/>
                </a:lnTo>
                <a:lnTo>
                  <a:pt x="11556681" y="1171566"/>
                </a:lnTo>
                <a:lnTo>
                  <a:pt x="11564244" y="1163973"/>
                </a:lnTo>
                <a:lnTo>
                  <a:pt x="11564244" y="1036809"/>
                </a:lnTo>
                <a:lnTo>
                  <a:pt x="11556681" y="1029246"/>
                </a:lnTo>
                <a:close/>
                <a:moveTo>
                  <a:pt x="11257184" y="856823"/>
                </a:moveTo>
                <a:lnTo>
                  <a:pt x="11249591" y="864416"/>
                </a:lnTo>
                <a:lnTo>
                  <a:pt x="11249591" y="991550"/>
                </a:lnTo>
                <a:lnTo>
                  <a:pt x="11257184" y="999143"/>
                </a:lnTo>
                <a:lnTo>
                  <a:pt x="11384318" y="999143"/>
                </a:lnTo>
                <a:lnTo>
                  <a:pt x="11391911" y="991550"/>
                </a:lnTo>
                <a:lnTo>
                  <a:pt x="11391911" y="864416"/>
                </a:lnTo>
                <a:lnTo>
                  <a:pt x="11384318" y="856823"/>
                </a:lnTo>
                <a:close/>
                <a:moveTo>
                  <a:pt x="11429457" y="767925"/>
                </a:moveTo>
                <a:lnTo>
                  <a:pt x="11421864" y="775518"/>
                </a:lnTo>
                <a:lnTo>
                  <a:pt x="11421924" y="991550"/>
                </a:lnTo>
                <a:lnTo>
                  <a:pt x="11429517" y="999143"/>
                </a:lnTo>
                <a:lnTo>
                  <a:pt x="11645609" y="999143"/>
                </a:lnTo>
                <a:lnTo>
                  <a:pt x="11653202" y="991550"/>
                </a:lnTo>
                <a:lnTo>
                  <a:pt x="11653202" y="883564"/>
                </a:lnTo>
                <a:lnTo>
                  <a:pt x="11537533" y="767925"/>
                </a:lnTo>
                <a:close/>
                <a:moveTo>
                  <a:pt x="4860000" y="0"/>
                </a:moveTo>
                <a:lnTo>
                  <a:pt x="12192000" y="0"/>
                </a:lnTo>
                <a:lnTo>
                  <a:pt x="12192000" y="6858000"/>
                </a:lnTo>
                <a:lnTo>
                  <a:pt x="0" y="6858000"/>
                </a:lnTo>
                <a:lnTo>
                  <a:pt x="0" y="4644000"/>
                </a:lnTo>
                <a:lnTo>
                  <a:pt x="4860000" y="4644000"/>
                </a:lnTo>
                <a:close/>
              </a:path>
            </a:pathLst>
          </a:custGeom>
        </p:spPr>
        <p:txBody>
          <a:bodyPr wrap="square">
            <a:noAutofit/>
          </a:bodyPr>
          <a:lstStyle>
            <a:lvl1pPr algn="ctr">
              <a:defRPr/>
            </a:lvl1pPr>
          </a:lstStyle>
          <a:p>
            <a:r>
              <a:rPr lang="en-US"/>
              <a:t>Click icon to add picture</a:t>
            </a:r>
            <a:endParaRPr lang="en-GB"/>
          </a:p>
        </p:txBody>
      </p:sp>
      <p:sp>
        <p:nvSpPr>
          <p:cNvPr id="13" name="Rectangle 12">
            <a:extLst>
              <a:ext uri="{FF2B5EF4-FFF2-40B4-BE49-F238E27FC236}">
                <a16:creationId xmlns:a16="http://schemas.microsoft.com/office/drawing/2014/main" id="{42687011-3214-FD25-1181-F605A9CA6455}"/>
              </a:ext>
            </a:extLst>
          </p:cNvPr>
          <p:cNvSpPr/>
          <p:nvPr userDrawn="1"/>
        </p:nvSpPr>
        <p:spPr bwMode="white">
          <a:xfrm>
            <a:off x="0" y="-1"/>
            <a:ext cx="4876800" cy="4680000"/>
          </a:xfrm>
          <a:prstGeom prst="rect">
            <a:avLst/>
          </a:prstGeom>
          <a:gradFill flip="none" rotWithShape="1">
            <a:gsLst>
              <a:gs pos="50000">
                <a:srgbClr val="3AAEF6"/>
              </a:gs>
              <a:gs pos="100000">
                <a:srgbClr val="4F9DFD"/>
              </a:gs>
              <a:gs pos="0">
                <a:srgbClr val="04B8E2"/>
              </a:gs>
            </a:gsLst>
            <a:lin ang="18000000" scaled="0"/>
          </a:gradFill>
        </p:spPr>
        <p:txBody>
          <a:bodyPr rtlCol="0" anchor="ctr"/>
          <a:lstStyle/>
          <a:p>
            <a:pPr marR="0" lvl="0" algn="ctr" defTabSz="914400" fontAlgn="auto">
              <a:lnSpc>
                <a:spcPct val="100000"/>
              </a:lnSpc>
              <a:spcAft>
                <a:spcPct val="0"/>
              </a:spcAft>
              <a:buClrTx/>
              <a:buSzTx/>
            </a:pPr>
            <a:endParaRPr kumimoji="0" lang="en-PT" b="0" i="0" u="none" strike="noStrike" kern="0" cap="none" spc="0" normalizeH="0">
              <a:ln>
                <a:noFill/>
              </a:ln>
              <a:solidFill>
                <a:srgbClr val="FFFFFF"/>
              </a:solidFill>
              <a:effectLst/>
              <a:uLnTx/>
              <a:uFillTx/>
              <a:latin typeface="Segoe UI"/>
            </a:endParaRPr>
          </a:p>
        </p:txBody>
      </p:sp>
      <p:sp>
        <p:nvSpPr>
          <p:cNvPr id="6" name="Squiggle">
            <a:extLst>
              <a:ext uri="{FF2B5EF4-FFF2-40B4-BE49-F238E27FC236}">
                <a16:creationId xmlns:a16="http://schemas.microsoft.com/office/drawing/2014/main" id="{18F540EF-87D8-0E44-F690-9F7604110481}"/>
              </a:ext>
            </a:extLst>
          </p:cNvPr>
          <p:cNvSpPr/>
          <p:nvPr/>
        </p:nvSpPr>
        <p:spPr>
          <a:xfrm>
            <a:off x="0" y="0"/>
            <a:ext cx="4876800" cy="4680000"/>
          </a:xfrm>
          <a:custGeom>
            <a:avLst/>
            <a:gdLst>
              <a:gd name="connsiteX0" fmla="*/ 4876800 w 4876800"/>
              <a:gd name="connsiteY0" fmla="*/ 3948026 h 4648200"/>
              <a:gd name="connsiteX1" fmla="*/ 4876800 w 4876800"/>
              <a:gd name="connsiteY1" fmla="*/ 4648200 h 4648200"/>
              <a:gd name="connsiteX2" fmla="*/ 3641772 w 4876800"/>
              <a:gd name="connsiteY2" fmla="*/ 4648200 h 4648200"/>
              <a:gd name="connsiteX3" fmla="*/ 2979537 w 4876800"/>
              <a:gd name="connsiteY3" fmla="*/ 0 h 4648200"/>
              <a:gd name="connsiteX4" fmla="*/ 4799703 w 4876800"/>
              <a:gd name="connsiteY4" fmla="*/ 0 h 4648200"/>
              <a:gd name="connsiteX5" fmla="*/ 4807781 w 4876800"/>
              <a:gd name="connsiteY5" fmla="*/ 25078 h 4648200"/>
              <a:gd name="connsiteX6" fmla="*/ 4876075 w 4876800"/>
              <a:gd name="connsiteY6" fmla="*/ 276777 h 4648200"/>
              <a:gd name="connsiteX7" fmla="*/ 4876800 w 4876800"/>
              <a:gd name="connsiteY7" fmla="*/ 279858 h 4648200"/>
              <a:gd name="connsiteX8" fmla="*/ 4876800 w 4876800"/>
              <a:gd name="connsiteY8" fmla="*/ 2099726 h 4648200"/>
              <a:gd name="connsiteX9" fmla="*/ 3571982 w 4876800"/>
              <a:gd name="connsiteY9" fmla="*/ 4648200 h 4648200"/>
              <a:gd name="connsiteX10" fmla="*/ 57811 w 4876800"/>
              <a:gd name="connsiteY10" fmla="*/ 4648200 h 4648200"/>
              <a:gd name="connsiteX11" fmla="*/ 671862 w 4876800"/>
              <a:gd name="connsiteY11" fmla="*/ 0 h 4648200"/>
              <a:gd name="connsiteX12" fmla="*/ 2817209 w 4876800"/>
              <a:gd name="connsiteY12" fmla="*/ 0 h 4648200"/>
              <a:gd name="connsiteX13" fmla="*/ 0 w 4876800"/>
              <a:gd name="connsiteY13" fmla="*/ 2583289 h 4648200"/>
              <a:gd name="connsiteX14" fmla="*/ 0 w 4876800"/>
              <a:gd name="connsiteY14" fmla="*/ 534044 h 464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76800" h="4648200">
                <a:moveTo>
                  <a:pt x="4876800" y="3948026"/>
                </a:moveTo>
                <a:lnTo>
                  <a:pt x="4876800" y="4648200"/>
                </a:lnTo>
                <a:lnTo>
                  <a:pt x="3641772" y="4648200"/>
                </a:lnTo>
                <a:close/>
                <a:moveTo>
                  <a:pt x="2979537" y="0"/>
                </a:moveTo>
                <a:lnTo>
                  <a:pt x="4799703" y="0"/>
                </a:lnTo>
                <a:lnTo>
                  <a:pt x="4807781" y="25078"/>
                </a:lnTo>
                <a:cubicBezTo>
                  <a:pt x="4831182" y="102611"/>
                  <a:pt x="4853944" y="186832"/>
                  <a:pt x="4876075" y="276777"/>
                </a:cubicBezTo>
                <a:lnTo>
                  <a:pt x="4876800" y="279858"/>
                </a:lnTo>
                <a:lnTo>
                  <a:pt x="4876800" y="2099726"/>
                </a:lnTo>
                <a:lnTo>
                  <a:pt x="3571982" y="4648200"/>
                </a:lnTo>
                <a:lnTo>
                  <a:pt x="57811" y="4648200"/>
                </a:lnTo>
                <a:close/>
                <a:moveTo>
                  <a:pt x="671862" y="0"/>
                </a:moveTo>
                <a:lnTo>
                  <a:pt x="2817209" y="0"/>
                </a:lnTo>
                <a:lnTo>
                  <a:pt x="0" y="2583289"/>
                </a:lnTo>
                <a:lnTo>
                  <a:pt x="0" y="534044"/>
                </a:lnTo>
                <a:close/>
              </a:path>
            </a:pathLst>
          </a:custGeom>
          <a:gradFill>
            <a:gsLst>
              <a:gs pos="100000">
                <a:srgbClr val="399BF5"/>
              </a:gs>
              <a:gs pos="0">
                <a:srgbClr val="26A4EE"/>
              </a:gs>
            </a:gsLst>
            <a:lin ang="16200000" scaled="0"/>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203200" tIns="203200" rIns="203200" bIns="203200" rtlCol="0" anchor="ctr">
            <a:noAutofit/>
          </a:bodyPr>
          <a:lstStyle/>
          <a:p>
            <a:pPr algn="ctr" defTabSz="486000"/>
            <a:endParaRPr lang="en-US">
              <a:solidFill>
                <a:schemeClr val="tx1"/>
              </a:solidFill>
            </a:endParaRPr>
          </a:p>
        </p:txBody>
      </p:sp>
      <p:sp>
        <p:nvSpPr>
          <p:cNvPr id="9" name="Subtitle">
            <a:extLst>
              <a:ext uri="{FF2B5EF4-FFF2-40B4-BE49-F238E27FC236}">
                <a16:creationId xmlns:a16="http://schemas.microsoft.com/office/drawing/2014/main" id="{8ADB95D0-F1C8-516C-6D3E-5C2A67CD6FA3}"/>
              </a:ext>
            </a:extLst>
          </p:cNvPr>
          <p:cNvSpPr>
            <a:spLocks noGrp="1"/>
          </p:cNvSpPr>
          <p:nvPr userDrawn="1">
            <p:ph type="subTitle" idx="1" hasCustomPrompt="1"/>
          </p:nvPr>
        </p:nvSpPr>
        <p:spPr>
          <a:xfrm>
            <a:off x="550800" y="3061072"/>
            <a:ext cx="3454400" cy="1016000"/>
          </a:xfrm>
          <a:prstGeom prst="rect">
            <a:avLst/>
          </a:prstGeom>
        </p:spPr>
        <p:txBody>
          <a:bodyPr anchor="t"/>
          <a:lstStyle>
            <a:lvl1pPr marL="0" indent="0" algn="l" defTabSz="203200" rtl="0" eaLnBrk="1" latinLnBrk="0" hangingPunct="1">
              <a:lnSpc>
                <a:spcPct val="90000"/>
              </a:lnSpc>
              <a:spcBef>
                <a:spcPct val="0"/>
              </a:spcBef>
              <a:spcAft>
                <a:spcPts val="600"/>
              </a:spcAft>
              <a:buFontTx/>
              <a:buNone/>
              <a:defRPr lang="en-US" sz="2400" kern="1200" baseline="0">
                <a:solidFill>
                  <a:schemeClr val="bg1"/>
                </a:solidFill>
                <a:latin typeface="+mn-lt"/>
                <a:ea typeface="+mn-ea"/>
                <a:cs typeface="+mn-cs"/>
              </a:defRPr>
            </a:lvl1pPr>
            <a:lvl2pPr marL="0" indent="0" algn="l">
              <a:lnSpc>
                <a:spcPct val="100000"/>
              </a:lnSpc>
              <a:spcBef>
                <a:spcPct val="0"/>
              </a:spcBef>
              <a:buNone/>
              <a:defRPr sz="14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a:t>
            </a:r>
            <a:br>
              <a:rPr lang="en-US"/>
            </a:br>
            <a:r>
              <a:rPr lang="en-US"/>
              <a:t>subtitle style</a:t>
            </a:r>
          </a:p>
        </p:txBody>
      </p:sp>
      <p:sp>
        <p:nvSpPr>
          <p:cNvPr id="7" name="Title">
            <a:extLst>
              <a:ext uri="{FF2B5EF4-FFF2-40B4-BE49-F238E27FC236}">
                <a16:creationId xmlns:a16="http://schemas.microsoft.com/office/drawing/2014/main" id="{4DD6E394-341A-C7EB-4850-A929E45D2FD5}"/>
              </a:ext>
            </a:extLst>
          </p:cNvPr>
          <p:cNvSpPr>
            <a:spLocks noGrp="1"/>
          </p:cNvSpPr>
          <p:nvPr userDrawn="1">
            <p:ph type="title"/>
          </p:nvPr>
        </p:nvSpPr>
        <p:spPr>
          <a:xfrm>
            <a:off x="550800" y="838824"/>
            <a:ext cx="3454400" cy="2123658"/>
          </a:xfrm>
          <a:custGeom>
            <a:avLst/>
            <a:gdLst>
              <a:gd name="connsiteX0" fmla="*/ 0 w 8164842"/>
              <a:gd name="connsiteY0" fmla="*/ 0 h 1944775"/>
              <a:gd name="connsiteX1" fmla="*/ 8164842 w 8164842"/>
              <a:gd name="connsiteY1" fmla="*/ 0 h 1944775"/>
              <a:gd name="connsiteX2" fmla="*/ 8164842 w 8164842"/>
              <a:gd name="connsiteY2" fmla="*/ 1944775 h 1944775"/>
              <a:gd name="connsiteX3" fmla="*/ 0 w 8164842"/>
              <a:gd name="connsiteY3" fmla="*/ 1944775 h 1944775"/>
            </a:gdLst>
            <a:ahLst/>
            <a:cxnLst>
              <a:cxn ang="0">
                <a:pos x="connsiteX0" y="connsiteY0"/>
              </a:cxn>
              <a:cxn ang="0">
                <a:pos x="connsiteX1" y="connsiteY1"/>
              </a:cxn>
              <a:cxn ang="0">
                <a:pos x="connsiteX2" y="connsiteY2"/>
              </a:cxn>
              <a:cxn ang="0">
                <a:pos x="connsiteX3" y="connsiteY3"/>
              </a:cxn>
            </a:cxnLst>
            <a:rect l="l" t="t" r="r" b="b"/>
            <a:pathLst>
              <a:path w="8164842" h="1944775">
                <a:moveTo>
                  <a:pt x="0" y="0"/>
                </a:moveTo>
                <a:lnTo>
                  <a:pt x="8164842" y="0"/>
                </a:lnTo>
                <a:lnTo>
                  <a:pt x="8164842" y="1944775"/>
                </a:lnTo>
                <a:lnTo>
                  <a:pt x="0" y="1944775"/>
                </a:lnTo>
                <a:close/>
              </a:path>
            </a:pathLst>
          </a:custGeom>
        </p:spPr>
        <p:txBody>
          <a:bodyPr vert="horz" wrap="square" lIns="0" tIns="0" rIns="0" bIns="0" rtlCol="0" anchor="t" anchorCtr="0">
            <a:noAutofit/>
          </a:bodyPr>
          <a:lstStyle>
            <a:lvl1pPr algn="l">
              <a:lnSpc>
                <a:spcPct val="100000"/>
              </a:lnSpc>
              <a:defRPr lang="de-DE" sz="4600" b="0" i="0" spc="0" baseline="0">
                <a:solidFill>
                  <a:schemeClr val="bg1"/>
                </a:solidFill>
                <a:latin typeface="+mj-lt"/>
                <a:cs typeface="Segoe UI Semilight" panose="020B0502040204020203" pitchFamily="34" charset="0"/>
              </a:defRPr>
            </a:lvl1pPr>
          </a:lstStyle>
          <a:p>
            <a:pPr lvl="0"/>
            <a:r>
              <a:rPr lang="en-US" noProof="0"/>
              <a:t>Click to edit Master title style</a:t>
            </a:r>
            <a:endParaRPr lang="de-DE" noProof="0"/>
          </a:p>
        </p:txBody>
      </p:sp>
    </p:spTree>
    <p:extLst>
      <p:ext uri="{BB962C8B-B14F-4D97-AF65-F5344CB8AC3E}">
        <p14:creationId xmlns:p14="http://schemas.microsoft.com/office/powerpoint/2010/main" val="2046110470"/>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Dark Blue">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8ADB95D0-F1C8-516C-6D3E-5C2A67CD6FA3}"/>
              </a:ext>
            </a:extLst>
          </p:cNvPr>
          <p:cNvSpPr>
            <a:spLocks noGrp="1"/>
          </p:cNvSpPr>
          <p:nvPr userDrawn="1">
            <p:ph type="subTitle" idx="1" hasCustomPrompt="1"/>
          </p:nvPr>
        </p:nvSpPr>
        <p:spPr>
          <a:xfrm>
            <a:off x="0" y="838799"/>
            <a:ext cx="3454399" cy="2641600"/>
          </a:xfrm>
          <a:prstGeom prst="rect">
            <a:avLst/>
          </a:prstGeom>
          <a:solidFill>
            <a:schemeClr val="bg1">
              <a:alpha val="80000"/>
            </a:schemeClr>
          </a:solidFill>
        </p:spPr>
        <p:txBody>
          <a:bodyPr vert="horz" lIns="608400" tIns="608400" rIns="152400" bIns="101600" rtlCol="0" anchor="b">
            <a:noAutofit/>
          </a:bodyPr>
          <a:lstStyle>
            <a:lvl1pPr>
              <a:defRPr lang="en-US" sz="17600" b="0" i="0">
                <a:solidFill>
                  <a:schemeClr val="accent1"/>
                </a:solidFill>
                <a:latin typeface="+mj-lt"/>
                <a:ea typeface="+mj-ea"/>
                <a:cs typeface="+mj-cs"/>
              </a:defRPr>
            </a:lvl1pPr>
          </a:lstStyle>
          <a:p>
            <a:pPr lvl="0">
              <a:lnSpc>
                <a:spcPts val="16300"/>
              </a:lnSpc>
            </a:pPr>
            <a:r>
              <a:rPr lang="en-US"/>
              <a:t>##</a:t>
            </a:r>
          </a:p>
        </p:txBody>
      </p:sp>
      <p:sp>
        <p:nvSpPr>
          <p:cNvPr id="7" name="Title">
            <a:extLst>
              <a:ext uri="{FF2B5EF4-FFF2-40B4-BE49-F238E27FC236}">
                <a16:creationId xmlns:a16="http://schemas.microsoft.com/office/drawing/2014/main" id="{4DD6E394-341A-C7EB-4850-A929E45D2FD5}"/>
              </a:ext>
            </a:extLst>
          </p:cNvPr>
          <p:cNvSpPr>
            <a:spLocks noGrp="1"/>
          </p:cNvSpPr>
          <p:nvPr userDrawn="1">
            <p:ph type="title" hasCustomPrompt="1"/>
          </p:nvPr>
        </p:nvSpPr>
        <p:spPr>
          <a:xfrm>
            <a:off x="3454400" y="838799"/>
            <a:ext cx="6120000" cy="2641601"/>
          </a:xfrm>
          <a:custGeom>
            <a:avLst/>
            <a:gdLst>
              <a:gd name="connsiteX0" fmla="*/ 0 w 8164842"/>
              <a:gd name="connsiteY0" fmla="*/ 0 h 1944775"/>
              <a:gd name="connsiteX1" fmla="*/ 8164842 w 8164842"/>
              <a:gd name="connsiteY1" fmla="*/ 0 h 1944775"/>
              <a:gd name="connsiteX2" fmla="*/ 8164842 w 8164842"/>
              <a:gd name="connsiteY2" fmla="*/ 1944775 h 1944775"/>
              <a:gd name="connsiteX3" fmla="*/ 0 w 8164842"/>
              <a:gd name="connsiteY3" fmla="*/ 1944775 h 1944775"/>
            </a:gdLst>
            <a:ahLst/>
            <a:cxnLst>
              <a:cxn ang="0">
                <a:pos x="connsiteX0" y="connsiteY0"/>
              </a:cxn>
              <a:cxn ang="0">
                <a:pos x="connsiteX1" y="connsiteY1"/>
              </a:cxn>
              <a:cxn ang="0">
                <a:pos x="connsiteX2" y="connsiteY2"/>
              </a:cxn>
              <a:cxn ang="0">
                <a:pos x="connsiteX3" y="connsiteY3"/>
              </a:cxn>
            </a:cxnLst>
            <a:rect l="l" t="t" r="r" b="b"/>
            <a:pathLst>
              <a:path w="8164842" h="1944775">
                <a:moveTo>
                  <a:pt x="0" y="0"/>
                </a:moveTo>
                <a:lnTo>
                  <a:pt x="8164842" y="0"/>
                </a:lnTo>
                <a:lnTo>
                  <a:pt x="8164842" y="1944775"/>
                </a:lnTo>
                <a:lnTo>
                  <a:pt x="0" y="1944775"/>
                </a:lnTo>
                <a:close/>
              </a:path>
            </a:pathLst>
          </a:custGeom>
          <a:solidFill>
            <a:srgbClr val="FFFFFF">
              <a:alpha val="80000"/>
            </a:srgbClr>
          </a:solidFill>
        </p:spPr>
        <p:txBody>
          <a:bodyPr vert="horz" wrap="square" lIns="180000" tIns="203200" rIns="609600" bIns="508000" rtlCol="0" anchor="ctr" anchorCtr="0">
            <a:noAutofit/>
          </a:bodyPr>
          <a:lstStyle>
            <a:lvl1pPr>
              <a:defRPr lang="de-DE" noProof="0">
                <a:solidFill>
                  <a:schemeClr val="accent1"/>
                </a:solidFill>
              </a:defRPr>
            </a:lvl1pPr>
          </a:lstStyle>
          <a:p>
            <a:pPr lvl="0"/>
            <a:r>
              <a:rPr lang="en-GB" noProof="0"/>
              <a:t>Click to edit </a:t>
            </a:r>
            <a:br>
              <a:rPr lang="en-GB" noProof="0"/>
            </a:br>
            <a:r>
              <a:rPr lang="en-GB" noProof="0"/>
              <a:t>Master title</a:t>
            </a:r>
            <a:br>
              <a:rPr lang="en-GB" noProof="0"/>
            </a:br>
            <a:r>
              <a:rPr lang="en-GB" noProof="0"/>
              <a:t>style</a:t>
            </a:r>
            <a:endParaRPr lang="de-DE" noProof="0"/>
          </a:p>
        </p:txBody>
      </p:sp>
      <p:sp>
        <p:nvSpPr>
          <p:cNvPr id="2" name="Squiggle">
            <a:extLst>
              <a:ext uri="{FF2B5EF4-FFF2-40B4-BE49-F238E27FC236}">
                <a16:creationId xmlns:a16="http://schemas.microsoft.com/office/drawing/2014/main" id="{DA7DA6EC-09E1-11A5-67EA-0003DB3D8188}"/>
              </a:ext>
            </a:extLst>
          </p:cNvPr>
          <p:cNvSpPr/>
          <p:nvPr userDrawn="1"/>
        </p:nvSpPr>
        <p:spPr>
          <a:xfrm>
            <a:off x="4469108" y="1921894"/>
            <a:ext cx="7722892" cy="4936106"/>
          </a:xfrm>
          <a:custGeom>
            <a:avLst/>
            <a:gdLst>
              <a:gd name="connsiteX0" fmla="*/ 7722892 w 7722892"/>
              <a:gd name="connsiteY0" fmla="*/ 0 h 4936106"/>
              <a:gd name="connsiteX1" fmla="*/ 7722892 w 7722892"/>
              <a:gd name="connsiteY1" fmla="*/ 4936106 h 4936106"/>
              <a:gd name="connsiteX2" fmla="*/ 4028035 w 7722892"/>
              <a:gd name="connsiteY2" fmla="*/ 4936106 h 4936106"/>
              <a:gd name="connsiteX3" fmla="*/ 4213446 w 7722892"/>
              <a:gd name="connsiteY3" fmla="*/ 4745486 h 4936106"/>
              <a:gd name="connsiteX4" fmla="*/ 7696388 w 7722892"/>
              <a:gd name="connsiteY4" fmla="*/ 1189056 h 4936106"/>
              <a:gd name="connsiteX5" fmla="*/ 2431301 w 7722892"/>
              <a:gd name="connsiteY5" fmla="*/ 4862088 h 4936106"/>
              <a:gd name="connsiteX6" fmla="*/ 2343839 w 7722892"/>
              <a:gd name="connsiteY6" fmla="*/ 4936106 h 4936106"/>
              <a:gd name="connsiteX7" fmla="*/ 0 w 7722892"/>
              <a:gd name="connsiteY7" fmla="*/ 4936106 h 4936106"/>
              <a:gd name="connsiteX8" fmla="*/ 527048 w 7722892"/>
              <a:gd name="connsiteY8" fmla="*/ 4550069 h 4936106"/>
              <a:gd name="connsiteX9" fmla="*/ 4050037 w 7722892"/>
              <a:gd name="connsiteY9" fmla="*/ 2135268 h 4936106"/>
              <a:gd name="connsiteX10" fmla="*/ 7225501 w 7722892"/>
              <a:gd name="connsiteY10" fmla="*/ 250346 h 493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22892" h="4936106">
                <a:moveTo>
                  <a:pt x="7722892" y="0"/>
                </a:moveTo>
                <a:lnTo>
                  <a:pt x="7722892" y="4936106"/>
                </a:lnTo>
                <a:lnTo>
                  <a:pt x="4028035" y="4936106"/>
                </a:lnTo>
                <a:lnTo>
                  <a:pt x="4213446" y="4745486"/>
                </a:lnTo>
                <a:cubicBezTo>
                  <a:pt x="5210634" y="3707422"/>
                  <a:pt x="5165016" y="3562023"/>
                  <a:pt x="7696388" y="1189056"/>
                </a:cubicBezTo>
                <a:cubicBezTo>
                  <a:pt x="6288912" y="1580617"/>
                  <a:pt x="3398340" y="4042914"/>
                  <a:pt x="2431301" y="4862088"/>
                </a:cubicBezTo>
                <a:lnTo>
                  <a:pt x="2343839" y="4936106"/>
                </a:lnTo>
                <a:lnTo>
                  <a:pt x="0" y="4936106"/>
                </a:lnTo>
                <a:lnTo>
                  <a:pt x="527048" y="4550069"/>
                </a:lnTo>
                <a:cubicBezTo>
                  <a:pt x="1752272" y="3658893"/>
                  <a:pt x="2835460" y="2916104"/>
                  <a:pt x="4050037" y="2135268"/>
                </a:cubicBezTo>
                <a:cubicBezTo>
                  <a:pt x="5124695" y="1510766"/>
                  <a:pt x="6069990" y="855825"/>
                  <a:pt x="7225501" y="250346"/>
                </a:cubicBezTo>
                <a:close/>
              </a:path>
            </a:pathLst>
          </a:cu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7200" tIns="97200" rIns="97200" bIns="97200" rtlCol="0" anchor="ctr">
            <a:noAutofit/>
          </a:bodyPr>
          <a:lstStyle/>
          <a:p>
            <a:pPr algn="ctr" defTabSz="486000"/>
            <a:endParaRPr lang="en-US" sz="1600">
              <a:solidFill>
                <a:schemeClr val="tx1"/>
              </a:solidFill>
            </a:endParaRPr>
          </a:p>
        </p:txBody>
      </p:sp>
    </p:spTree>
    <p:extLst>
      <p:ext uri="{BB962C8B-B14F-4D97-AF65-F5344CB8AC3E}">
        <p14:creationId xmlns:p14="http://schemas.microsoft.com/office/powerpoint/2010/main" val="1058417299"/>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tags" Target="../tags/tag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673" name="Additional Element concept" hidden="1">
            <a:extLst>
              <a:ext uri="{FF2B5EF4-FFF2-40B4-BE49-F238E27FC236}">
                <a16:creationId xmlns:a16="http://schemas.microsoft.com/office/drawing/2014/main" id="{3CAB6135-C290-663C-9345-16E108620336}"/>
              </a:ext>
            </a:extLst>
          </p:cNvPr>
          <p:cNvGrpSpPr/>
          <p:nvPr/>
        </p:nvGrpSpPr>
        <p:grpSpPr>
          <a:xfrm>
            <a:off x="609600" y="76200"/>
            <a:ext cx="10972800" cy="6705600"/>
            <a:chOff x="609600" y="76200"/>
            <a:chExt cx="10972800" cy="6705600"/>
          </a:xfrm>
        </p:grpSpPr>
        <p:sp>
          <p:nvSpPr>
            <p:cNvPr id="665" name="Page / Seite Nennfeld" hidden="1">
              <a:extLst>
                <a:ext uri="{FF2B5EF4-FFF2-40B4-BE49-F238E27FC236}">
                  <a16:creationId xmlns:a16="http://schemas.microsoft.com/office/drawing/2014/main" id="{7CD9DD86-11AE-049F-4411-63D077925911}"/>
                </a:ext>
              </a:extLst>
            </p:cNvPr>
            <p:cNvSpPr/>
            <p:nvPr/>
          </p:nvSpPr>
          <p:spPr>
            <a:xfrm>
              <a:off x="10160000" y="6578600"/>
              <a:ext cx="1219200" cy="203200"/>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r" defTabSz="203200">
                <a:lnSpc>
                  <a:spcPts val="1200"/>
                </a:lnSpc>
                <a:spcAft>
                  <a:spcPts val="400"/>
                </a:spcAft>
              </a:pPr>
              <a:r>
                <a:rPr lang="en-GB" sz="900" baseline="0">
                  <a:solidFill>
                    <a:schemeClr val="tx1"/>
                  </a:solidFill>
                </a:rPr>
                <a:t>Page / Seite</a:t>
              </a:r>
            </a:p>
          </p:txBody>
        </p:sp>
        <p:sp>
          <p:nvSpPr>
            <p:cNvPr id="666" name="Confidential Field" hidden="1">
              <a:extLst>
                <a:ext uri="{FF2B5EF4-FFF2-40B4-BE49-F238E27FC236}">
                  <a16:creationId xmlns:a16="http://schemas.microsoft.com/office/drawing/2014/main" id="{ADE8244B-C860-A752-2444-B6AE0E542F15}"/>
                </a:ext>
              </a:extLst>
            </p:cNvPr>
            <p:cNvSpPr/>
            <p:nvPr/>
          </p:nvSpPr>
          <p:spPr>
            <a:xfrm>
              <a:off x="4470400" y="6578600"/>
              <a:ext cx="3251200" cy="203200"/>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defTabSz="203200">
                <a:lnSpc>
                  <a:spcPts val="1200"/>
                </a:lnSpc>
                <a:spcAft>
                  <a:spcPts val="400"/>
                </a:spcAft>
              </a:pPr>
              <a:r>
                <a:rPr lang="en-GB" sz="900" baseline="0">
                  <a:solidFill>
                    <a:schemeClr val="tx1"/>
                  </a:solidFill>
                </a:rPr>
                <a:t>Confidential</a:t>
              </a:r>
            </a:p>
          </p:txBody>
        </p:sp>
        <p:sp>
          <p:nvSpPr>
            <p:cNvPr id="669" name="Footnote" hidden="1">
              <a:extLst>
                <a:ext uri="{FF2B5EF4-FFF2-40B4-BE49-F238E27FC236}">
                  <a16:creationId xmlns:a16="http://schemas.microsoft.com/office/drawing/2014/main" id="{2F0FFB9C-ECFB-EAB1-4C0A-6FF74BCA4EA9}"/>
                </a:ext>
              </a:extLst>
            </p:cNvPr>
            <p:cNvSpPr txBox="1"/>
            <p:nvPr>
              <p:custDataLst>
                <p:tags r:id="rId64"/>
              </p:custDataLst>
            </p:nvPr>
          </p:nvSpPr>
          <p:spPr bwMode="auto">
            <a:xfrm>
              <a:off x="609600" y="6324600"/>
              <a:ext cx="9144000" cy="203200"/>
            </a:xfrm>
            <a:prstGeom prst="rect">
              <a:avLst/>
            </a:prstGeom>
            <a:solidFill>
              <a:schemeClr val="bg2"/>
            </a:solidFill>
            <a:ln w="9525">
              <a:noFill/>
              <a:miter lim="800000"/>
            </a:ln>
          </p:spPr>
          <p:txBody>
            <a:bodyPr wrap="square" lIns="0" tIns="0" rIns="0" bIns="0" anchor="b" anchorCtr="0">
              <a:noAutofit/>
            </a:bodyPr>
            <a:lstStyle/>
            <a:p>
              <a:pPr eaLnBrk="0" hangingPunct="0">
                <a:lnSpc>
                  <a:spcPts val="1200"/>
                </a:lnSpc>
                <a:buClr>
                  <a:schemeClr val="accent2"/>
                </a:buClr>
                <a:buFont typeface="Wingdings" pitchFamily="2" charset="2"/>
                <a:buNone/>
                <a:defRPr/>
              </a:pPr>
              <a:r>
                <a:rPr lang="en-GB" altLang="ko-KR" sz="900" kern="0"/>
                <a:t>Footnote/Source: Insert information here</a:t>
              </a:r>
            </a:p>
          </p:txBody>
        </p:sp>
        <p:sp>
          <p:nvSpPr>
            <p:cNvPr id="670" name="Breadrump" hidden="1">
              <a:extLst>
                <a:ext uri="{FF2B5EF4-FFF2-40B4-BE49-F238E27FC236}">
                  <a16:creationId xmlns:a16="http://schemas.microsoft.com/office/drawing/2014/main" id="{3EA69488-F646-6AB9-FF03-F551E769852D}"/>
                </a:ext>
              </a:extLst>
            </p:cNvPr>
            <p:cNvSpPr txBox="1"/>
            <p:nvPr>
              <p:custDataLst>
                <p:tags r:id="rId65"/>
              </p:custDataLst>
            </p:nvPr>
          </p:nvSpPr>
          <p:spPr bwMode="auto">
            <a:xfrm>
              <a:off x="609600" y="76200"/>
              <a:ext cx="5486400" cy="203200"/>
            </a:xfrm>
            <a:prstGeom prst="rect">
              <a:avLst/>
            </a:prstGeom>
            <a:solidFill>
              <a:schemeClr val="bg2"/>
            </a:solidFill>
            <a:ln w="9525">
              <a:noFill/>
              <a:miter lim="800000"/>
            </a:ln>
          </p:spPr>
          <p:txBody>
            <a:bodyPr wrap="square" lIns="0" tIns="0" rIns="0" bIns="0" anchor="b" anchorCtr="0">
              <a:noAutofit/>
            </a:bodyPr>
            <a:lstStyle/>
            <a:p>
              <a:pPr eaLnBrk="0" hangingPunct="0">
                <a:lnSpc>
                  <a:spcPts val="1200"/>
                </a:lnSpc>
                <a:buClr>
                  <a:schemeClr val="accent2"/>
                </a:buClr>
                <a:buFont typeface="Wingdings" pitchFamily="2" charset="2"/>
                <a:buNone/>
                <a:defRPr/>
              </a:pPr>
              <a:r>
                <a:rPr lang="en-GB" altLang="ko-KR" sz="900" kern="0"/>
                <a:t>Breadcrump/ Navigation</a:t>
              </a:r>
            </a:p>
          </p:txBody>
        </p:sp>
        <p:sp>
          <p:nvSpPr>
            <p:cNvPr id="671" name="Stamp" hidden="1">
              <a:extLst>
                <a:ext uri="{FF2B5EF4-FFF2-40B4-BE49-F238E27FC236}">
                  <a16:creationId xmlns:a16="http://schemas.microsoft.com/office/drawing/2014/main" id="{00FF0B6B-AF42-66E6-E533-D258D7A6F6A6}"/>
                </a:ext>
              </a:extLst>
            </p:cNvPr>
            <p:cNvSpPr/>
            <p:nvPr/>
          </p:nvSpPr>
          <p:spPr>
            <a:xfrm>
              <a:off x="10160000" y="6273800"/>
              <a:ext cx="1422400" cy="304800"/>
            </a:xfrm>
            <a:prstGeom prst="rect">
              <a:avLst/>
            </a:prstGeom>
            <a:solidFill>
              <a:schemeClr val="accent5"/>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203200">
                <a:lnSpc>
                  <a:spcPts val="1200"/>
                </a:lnSpc>
                <a:spcAft>
                  <a:spcPts val="400"/>
                </a:spcAft>
              </a:pPr>
              <a:r>
                <a:rPr lang="en-GB" sz="900" baseline="0">
                  <a:solidFill>
                    <a:schemeClr val="tx1"/>
                  </a:solidFill>
                </a:rPr>
                <a:t>Stamp</a:t>
              </a:r>
            </a:p>
          </p:txBody>
        </p:sp>
        <p:sp>
          <p:nvSpPr>
            <p:cNvPr id="672" name="Subtitle" hidden="1">
              <a:extLst>
                <a:ext uri="{FF2B5EF4-FFF2-40B4-BE49-F238E27FC236}">
                  <a16:creationId xmlns:a16="http://schemas.microsoft.com/office/drawing/2014/main" id="{7F921553-F921-5C2D-93C0-0AD5E0633E08}"/>
                </a:ext>
              </a:extLst>
            </p:cNvPr>
            <p:cNvSpPr txBox="1"/>
            <p:nvPr/>
          </p:nvSpPr>
          <p:spPr>
            <a:xfrm>
              <a:off x="609600" y="990600"/>
              <a:ext cx="9144000" cy="609600"/>
            </a:xfrm>
            <a:prstGeom prst="rect">
              <a:avLst/>
            </a:prstGeom>
            <a:solidFill>
              <a:schemeClr val="bg2"/>
            </a:solidFill>
          </p:spPr>
          <p:txBody>
            <a:bodyPr vert="horz" wrap="square" lIns="0" tIns="0" rIns="0" bIns="0" rtlCol="0">
              <a:noAutofit/>
            </a:bodyPr>
            <a:lstStyle/>
            <a:p>
              <a:pPr algn="l" rtl="0" eaLnBrk="1" fontAlgn="auto" hangingPunct="1">
                <a:lnSpc>
                  <a:spcPts val="3200"/>
                </a:lnSpc>
                <a:spcBef>
                  <a:spcPct val="0"/>
                </a:spcBef>
                <a:spcAft>
                  <a:spcPts val="1600"/>
                </a:spcAft>
              </a:pPr>
              <a:r>
                <a:rPr lang="en-GB" sz="2400" b="0" i="0" u="none" baseline="0">
                  <a:solidFill>
                    <a:schemeClr val="tx1"/>
                  </a:solidFill>
                </a:rPr>
                <a:t>Subtitle</a:t>
              </a:r>
            </a:p>
          </p:txBody>
        </p:sp>
      </p:grpSp>
      <p:grpSp>
        <p:nvGrpSpPr>
          <p:cNvPr id="639" name="Grid Support" hidden="1">
            <a:extLst>
              <a:ext uri="{FF2B5EF4-FFF2-40B4-BE49-F238E27FC236}">
                <a16:creationId xmlns:a16="http://schemas.microsoft.com/office/drawing/2014/main" id="{3FC3C060-626A-8DA3-5705-2484FEC01CB9}"/>
              </a:ext>
            </a:extLst>
          </p:cNvPr>
          <p:cNvGrpSpPr/>
          <p:nvPr/>
        </p:nvGrpSpPr>
        <p:grpSpPr>
          <a:xfrm>
            <a:off x="-355600" y="-330200"/>
            <a:ext cx="12344400" cy="7112000"/>
            <a:chOff x="-355600" y="-330200"/>
            <a:chExt cx="12344400" cy="7112000"/>
          </a:xfrm>
        </p:grpSpPr>
        <p:cxnSp>
          <p:nvCxnSpPr>
            <p:cNvPr id="538" name="Straight Connector 537">
              <a:extLst>
                <a:ext uri="{FF2B5EF4-FFF2-40B4-BE49-F238E27FC236}">
                  <a16:creationId xmlns:a16="http://schemas.microsoft.com/office/drawing/2014/main" id="{0CFD96D7-F7B5-142F-EAE5-D5F9F2FDBA5A}"/>
                </a:ext>
              </a:extLst>
            </p:cNvPr>
            <p:cNvCxnSpPr/>
            <p:nvPr/>
          </p:nvCxnSpPr>
          <p:spPr>
            <a:xfrm flipH="1">
              <a:off x="609600" y="-279400"/>
              <a:ext cx="0" cy="2032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39" name="Straight Connector 538">
              <a:extLst>
                <a:ext uri="{FF2B5EF4-FFF2-40B4-BE49-F238E27FC236}">
                  <a16:creationId xmlns:a16="http://schemas.microsoft.com/office/drawing/2014/main" id="{93331221-5891-F22B-9F08-47C0C7EFF474}"/>
                </a:ext>
              </a:extLst>
            </p:cNvPr>
            <p:cNvCxnSpPr/>
            <p:nvPr/>
          </p:nvCxnSpPr>
          <p:spPr>
            <a:xfrm flipH="1">
              <a:off x="8128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40" name="Straight Connector 539">
              <a:extLst>
                <a:ext uri="{FF2B5EF4-FFF2-40B4-BE49-F238E27FC236}">
                  <a16:creationId xmlns:a16="http://schemas.microsoft.com/office/drawing/2014/main" id="{8FEB61DE-45BD-3922-7B29-B2F82EDCF557}"/>
                </a:ext>
              </a:extLst>
            </p:cNvPr>
            <p:cNvCxnSpPr/>
            <p:nvPr/>
          </p:nvCxnSpPr>
          <p:spPr>
            <a:xfrm flipH="1">
              <a:off x="10160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41" name="Straight Connector 540">
              <a:extLst>
                <a:ext uri="{FF2B5EF4-FFF2-40B4-BE49-F238E27FC236}">
                  <a16:creationId xmlns:a16="http://schemas.microsoft.com/office/drawing/2014/main" id="{6F040774-B3E2-327F-8228-FABA92804614}"/>
                </a:ext>
              </a:extLst>
            </p:cNvPr>
            <p:cNvCxnSpPr/>
            <p:nvPr/>
          </p:nvCxnSpPr>
          <p:spPr>
            <a:xfrm flipH="1">
              <a:off x="12192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42" name="Straight Connector 541">
              <a:extLst>
                <a:ext uri="{FF2B5EF4-FFF2-40B4-BE49-F238E27FC236}">
                  <a16:creationId xmlns:a16="http://schemas.microsoft.com/office/drawing/2014/main" id="{1B16B9D2-E67B-9BF5-B72C-0B2E23F28594}"/>
                </a:ext>
              </a:extLst>
            </p:cNvPr>
            <p:cNvCxnSpPr/>
            <p:nvPr/>
          </p:nvCxnSpPr>
          <p:spPr>
            <a:xfrm flipH="1">
              <a:off x="14224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43" name="Straight Connector 542">
              <a:extLst>
                <a:ext uri="{FF2B5EF4-FFF2-40B4-BE49-F238E27FC236}">
                  <a16:creationId xmlns:a16="http://schemas.microsoft.com/office/drawing/2014/main" id="{66C23595-8A8F-45BD-CF53-7F7710DC2A6C}"/>
                </a:ext>
              </a:extLst>
            </p:cNvPr>
            <p:cNvCxnSpPr/>
            <p:nvPr/>
          </p:nvCxnSpPr>
          <p:spPr>
            <a:xfrm flipH="1">
              <a:off x="16256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44" name="Straight Connector 543">
              <a:extLst>
                <a:ext uri="{FF2B5EF4-FFF2-40B4-BE49-F238E27FC236}">
                  <a16:creationId xmlns:a16="http://schemas.microsoft.com/office/drawing/2014/main" id="{E2788A33-1A09-CE11-1894-7EC10E5D8178}"/>
                </a:ext>
              </a:extLst>
            </p:cNvPr>
            <p:cNvCxnSpPr/>
            <p:nvPr/>
          </p:nvCxnSpPr>
          <p:spPr>
            <a:xfrm flipH="1">
              <a:off x="18288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45" name="Straight Connector 544">
              <a:extLst>
                <a:ext uri="{FF2B5EF4-FFF2-40B4-BE49-F238E27FC236}">
                  <a16:creationId xmlns:a16="http://schemas.microsoft.com/office/drawing/2014/main" id="{0E61A20A-A2C4-25A4-1AA7-1102AE8F3091}"/>
                </a:ext>
              </a:extLst>
            </p:cNvPr>
            <p:cNvCxnSpPr/>
            <p:nvPr/>
          </p:nvCxnSpPr>
          <p:spPr>
            <a:xfrm flipH="1">
              <a:off x="20320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46" name="Straight Connector 545">
              <a:extLst>
                <a:ext uri="{FF2B5EF4-FFF2-40B4-BE49-F238E27FC236}">
                  <a16:creationId xmlns:a16="http://schemas.microsoft.com/office/drawing/2014/main" id="{7656E82D-EFB5-8016-F7CD-C0A4DB1B004E}"/>
                </a:ext>
              </a:extLst>
            </p:cNvPr>
            <p:cNvCxnSpPr/>
            <p:nvPr/>
          </p:nvCxnSpPr>
          <p:spPr>
            <a:xfrm flipH="1">
              <a:off x="22352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47" name="Straight Connector 546">
              <a:extLst>
                <a:ext uri="{FF2B5EF4-FFF2-40B4-BE49-F238E27FC236}">
                  <a16:creationId xmlns:a16="http://schemas.microsoft.com/office/drawing/2014/main" id="{293A0ADB-DA88-9B06-BAC5-17329C9EAC90}"/>
                </a:ext>
              </a:extLst>
            </p:cNvPr>
            <p:cNvCxnSpPr/>
            <p:nvPr/>
          </p:nvCxnSpPr>
          <p:spPr>
            <a:xfrm flipH="1">
              <a:off x="24384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48" name="Straight Connector 547">
              <a:extLst>
                <a:ext uri="{FF2B5EF4-FFF2-40B4-BE49-F238E27FC236}">
                  <a16:creationId xmlns:a16="http://schemas.microsoft.com/office/drawing/2014/main" id="{1F59ACCC-FD64-918D-366A-5542B4BA550C}"/>
                </a:ext>
              </a:extLst>
            </p:cNvPr>
            <p:cNvCxnSpPr/>
            <p:nvPr/>
          </p:nvCxnSpPr>
          <p:spPr>
            <a:xfrm flipH="1">
              <a:off x="26416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49" name="Straight Connector 548">
              <a:extLst>
                <a:ext uri="{FF2B5EF4-FFF2-40B4-BE49-F238E27FC236}">
                  <a16:creationId xmlns:a16="http://schemas.microsoft.com/office/drawing/2014/main" id="{40ACAE32-50B6-C70C-0F52-5F5380042B5B}"/>
                </a:ext>
              </a:extLst>
            </p:cNvPr>
            <p:cNvCxnSpPr/>
            <p:nvPr/>
          </p:nvCxnSpPr>
          <p:spPr>
            <a:xfrm flipH="1">
              <a:off x="28448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50" name="Straight Connector 549">
              <a:extLst>
                <a:ext uri="{FF2B5EF4-FFF2-40B4-BE49-F238E27FC236}">
                  <a16:creationId xmlns:a16="http://schemas.microsoft.com/office/drawing/2014/main" id="{A7FF8456-C360-6D94-F32E-794DEB3B6724}"/>
                </a:ext>
              </a:extLst>
            </p:cNvPr>
            <p:cNvCxnSpPr/>
            <p:nvPr/>
          </p:nvCxnSpPr>
          <p:spPr>
            <a:xfrm flipH="1">
              <a:off x="3048000" y="-177800"/>
              <a:ext cx="0" cy="101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51" name="Straight Connector 550">
              <a:extLst>
                <a:ext uri="{FF2B5EF4-FFF2-40B4-BE49-F238E27FC236}">
                  <a16:creationId xmlns:a16="http://schemas.microsoft.com/office/drawing/2014/main" id="{06CF12CE-84A0-9E99-1624-696586459355}"/>
                </a:ext>
              </a:extLst>
            </p:cNvPr>
            <p:cNvCxnSpPr/>
            <p:nvPr/>
          </p:nvCxnSpPr>
          <p:spPr>
            <a:xfrm flipH="1">
              <a:off x="32512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52" name="Straight Connector 551">
              <a:extLst>
                <a:ext uri="{FF2B5EF4-FFF2-40B4-BE49-F238E27FC236}">
                  <a16:creationId xmlns:a16="http://schemas.microsoft.com/office/drawing/2014/main" id="{735CC67A-A18F-8FD4-9970-F34FC5C6F249}"/>
                </a:ext>
              </a:extLst>
            </p:cNvPr>
            <p:cNvCxnSpPr/>
            <p:nvPr/>
          </p:nvCxnSpPr>
          <p:spPr>
            <a:xfrm flipH="1">
              <a:off x="3454400" y="-177800"/>
              <a:ext cx="0" cy="101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53" name="Straight Connector 552">
              <a:extLst>
                <a:ext uri="{FF2B5EF4-FFF2-40B4-BE49-F238E27FC236}">
                  <a16:creationId xmlns:a16="http://schemas.microsoft.com/office/drawing/2014/main" id="{F3357DD9-6F01-67C5-B320-67F664F641F4}"/>
                </a:ext>
              </a:extLst>
            </p:cNvPr>
            <p:cNvCxnSpPr/>
            <p:nvPr/>
          </p:nvCxnSpPr>
          <p:spPr>
            <a:xfrm flipH="1">
              <a:off x="36576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54" name="Straight Connector 553">
              <a:extLst>
                <a:ext uri="{FF2B5EF4-FFF2-40B4-BE49-F238E27FC236}">
                  <a16:creationId xmlns:a16="http://schemas.microsoft.com/office/drawing/2014/main" id="{CA33B3A5-F75F-8D28-BA5B-E41A87A18616}"/>
                </a:ext>
              </a:extLst>
            </p:cNvPr>
            <p:cNvCxnSpPr/>
            <p:nvPr/>
          </p:nvCxnSpPr>
          <p:spPr>
            <a:xfrm flipH="1">
              <a:off x="38608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55" name="Straight Connector 554">
              <a:extLst>
                <a:ext uri="{FF2B5EF4-FFF2-40B4-BE49-F238E27FC236}">
                  <a16:creationId xmlns:a16="http://schemas.microsoft.com/office/drawing/2014/main" id="{E0D02517-0B0D-B225-B7AF-7BAF2152A122}"/>
                </a:ext>
              </a:extLst>
            </p:cNvPr>
            <p:cNvCxnSpPr/>
            <p:nvPr/>
          </p:nvCxnSpPr>
          <p:spPr>
            <a:xfrm flipH="1">
              <a:off x="4064000" y="-228600"/>
              <a:ext cx="0" cy="1524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56" name="Straight Connector 555">
              <a:extLst>
                <a:ext uri="{FF2B5EF4-FFF2-40B4-BE49-F238E27FC236}">
                  <a16:creationId xmlns:a16="http://schemas.microsoft.com/office/drawing/2014/main" id="{8D06E266-C205-032D-0645-E190D504C1A0}"/>
                </a:ext>
              </a:extLst>
            </p:cNvPr>
            <p:cNvCxnSpPr/>
            <p:nvPr/>
          </p:nvCxnSpPr>
          <p:spPr>
            <a:xfrm flipH="1">
              <a:off x="42672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57" name="Straight Connector 556">
              <a:extLst>
                <a:ext uri="{FF2B5EF4-FFF2-40B4-BE49-F238E27FC236}">
                  <a16:creationId xmlns:a16="http://schemas.microsoft.com/office/drawing/2014/main" id="{9D0657A7-D706-9062-85D2-D025DE8F8C11}"/>
                </a:ext>
              </a:extLst>
            </p:cNvPr>
            <p:cNvCxnSpPr/>
            <p:nvPr/>
          </p:nvCxnSpPr>
          <p:spPr>
            <a:xfrm flipH="1">
              <a:off x="4368800" y="-228600"/>
              <a:ext cx="0" cy="1524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58" name="Straight Connector 557">
              <a:extLst>
                <a:ext uri="{FF2B5EF4-FFF2-40B4-BE49-F238E27FC236}">
                  <a16:creationId xmlns:a16="http://schemas.microsoft.com/office/drawing/2014/main" id="{4F2F43BA-6928-67CB-C74E-A71348D93D31}"/>
                </a:ext>
              </a:extLst>
            </p:cNvPr>
            <p:cNvCxnSpPr/>
            <p:nvPr/>
          </p:nvCxnSpPr>
          <p:spPr>
            <a:xfrm flipH="1">
              <a:off x="46736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59" name="Straight Connector 558">
              <a:extLst>
                <a:ext uri="{FF2B5EF4-FFF2-40B4-BE49-F238E27FC236}">
                  <a16:creationId xmlns:a16="http://schemas.microsoft.com/office/drawing/2014/main" id="{D71CA8D1-91D8-ADA9-A053-31B219F8C7FB}"/>
                </a:ext>
              </a:extLst>
            </p:cNvPr>
            <p:cNvCxnSpPr/>
            <p:nvPr/>
          </p:nvCxnSpPr>
          <p:spPr>
            <a:xfrm flipH="1">
              <a:off x="48768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60" name="Straight Connector 559">
              <a:extLst>
                <a:ext uri="{FF2B5EF4-FFF2-40B4-BE49-F238E27FC236}">
                  <a16:creationId xmlns:a16="http://schemas.microsoft.com/office/drawing/2014/main" id="{9625713D-65A9-F3F2-4B72-605481BC5805}"/>
                </a:ext>
              </a:extLst>
            </p:cNvPr>
            <p:cNvCxnSpPr/>
            <p:nvPr/>
          </p:nvCxnSpPr>
          <p:spPr>
            <a:xfrm flipH="1">
              <a:off x="50800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61" name="Straight Connector 560">
              <a:extLst>
                <a:ext uri="{FF2B5EF4-FFF2-40B4-BE49-F238E27FC236}">
                  <a16:creationId xmlns:a16="http://schemas.microsoft.com/office/drawing/2014/main" id="{6C0B6D21-1494-A9D8-22A5-38FE6EEE9A2F}"/>
                </a:ext>
              </a:extLst>
            </p:cNvPr>
            <p:cNvCxnSpPr/>
            <p:nvPr/>
          </p:nvCxnSpPr>
          <p:spPr>
            <a:xfrm flipH="1">
              <a:off x="52832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62" name="Straight Connector 561">
              <a:extLst>
                <a:ext uri="{FF2B5EF4-FFF2-40B4-BE49-F238E27FC236}">
                  <a16:creationId xmlns:a16="http://schemas.microsoft.com/office/drawing/2014/main" id="{4E732CF3-B199-FD77-B7D5-0243115D2CD5}"/>
                </a:ext>
              </a:extLst>
            </p:cNvPr>
            <p:cNvCxnSpPr/>
            <p:nvPr/>
          </p:nvCxnSpPr>
          <p:spPr>
            <a:xfrm flipH="1">
              <a:off x="54864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63" name="Straight Connector 562">
              <a:extLst>
                <a:ext uri="{FF2B5EF4-FFF2-40B4-BE49-F238E27FC236}">
                  <a16:creationId xmlns:a16="http://schemas.microsoft.com/office/drawing/2014/main" id="{F761F265-49ED-52D2-6332-0E82EAD4C9C5}"/>
                </a:ext>
              </a:extLst>
            </p:cNvPr>
            <p:cNvCxnSpPr/>
            <p:nvPr/>
          </p:nvCxnSpPr>
          <p:spPr>
            <a:xfrm flipH="1">
              <a:off x="56896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64" name="Straight Connector 563">
              <a:extLst>
                <a:ext uri="{FF2B5EF4-FFF2-40B4-BE49-F238E27FC236}">
                  <a16:creationId xmlns:a16="http://schemas.microsoft.com/office/drawing/2014/main" id="{9D967D66-07B9-A192-15E7-012E074CB12C}"/>
                </a:ext>
              </a:extLst>
            </p:cNvPr>
            <p:cNvCxnSpPr/>
            <p:nvPr/>
          </p:nvCxnSpPr>
          <p:spPr>
            <a:xfrm flipH="1">
              <a:off x="5892800" y="-177800"/>
              <a:ext cx="0" cy="101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65" name="Straight Connector 564">
              <a:extLst>
                <a:ext uri="{FF2B5EF4-FFF2-40B4-BE49-F238E27FC236}">
                  <a16:creationId xmlns:a16="http://schemas.microsoft.com/office/drawing/2014/main" id="{BA139CE2-F936-A4C0-5A31-74541FC268BD}"/>
                </a:ext>
              </a:extLst>
            </p:cNvPr>
            <p:cNvCxnSpPr/>
            <p:nvPr/>
          </p:nvCxnSpPr>
          <p:spPr>
            <a:xfrm flipH="1">
              <a:off x="6299200" y="-177800"/>
              <a:ext cx="0" cy="101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66" name="Straight Connector 565">
              <a:extLst>
                <a:ext uri="{FF2B5EF4-FFF2-40B4-BE49-F238E27FC236}">
                  <a16:creationId xmlns:a16="http://schemas.microsoft.com/office/drawing/2014/main" id="{A06217BC-A172-8826-5B1A-1815842DFB8C}"/>
                </a:ext>
              </a:extLst>
            </p:cNvPr>
            <p:cNvCxnSpPr/>
            <p:nvPr/>
          </p:nvCxnSpPr>
          <p:spPr>
            <a:xfrm flipH="1">
              <a:off x="6096000" y="-330200"/>
              <a:ext cx="0" cy="2540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67" name="Straight Connector 566">
              <a:extLst>
                <a:ext uri="{FF2B5EF4-FFF2-40B4-BE49-F238E27FC236}">
                  <a16:creationId xmlns:a16="http://schemas.microsoft.com/office/drawing/2014/main" id="{4D5739CD-2EFA-DF52-32B2-AA6C209D294C}"/>
                </a:ext>
              </a:extLst>
            </p:cNvPr>
            <p:cNvCxnSpPr/>
            <p:nvPr/>
          </p:nvCxnSpPr>
          <p:spPr>
            <a:xfrm flipH="1">
              <a:off x="65024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68" name="Straight Connector 567">
              <a:extLst>
                <a:ext uri="{FF2B5EF4-FFF2-40B4-BE49-F238E27FC236}">
                  <a16:creationId xmlns:a16="http://schemas.microsoft.com/office/drawing/2014/main" id="{EA3FD892-82CF-FD02-2480-825A51776510}"/>
                </a:ext>
              </a:extLst>
            </p:cNvPr>
            <p:cNvCxnSpPr/>
            <p:nvPr/>
          </p:nvCxnSpPr>
          <p:spPr>
            <a:xfrm flipH="1">
              <a:off x="67056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970C8D3E-5A6F-3A23-4E0C-A52288113B0C}"/>
                </a:ext>
              </a:extLst>
            </p:cNvPr>
            <p:cNvCxnSpPr/>
            <p:nvPr/>
          </p:nvCxnSpPr>
          <p:spPr>
            <a:xfrm flipH="1">
              <a:off x="69088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70" name="Straight Connector 569">
              <a:extLst>
                <a:ext uri="{FF2B5EF4-FFF2-40B4-BE49-F238E27FC236}">
                  <a16:creationId xmlns:a16="http://schemas.microsoft.com/office/drawing/2014/main" id="{70661C4C-8175-B216-7221-D54CF1B4FCBE}"/>
                </a:ext>
              </a:extLst>
            </p:cNvPr>
            <p:cNvCxnSpPr/>
            <p:nvPr/>
          </p:nvCxnSpPr>
          <p:spPr>
            <a:xfrm flipH="1">
              <a:off x="71120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71" name="Straight Connector 570">
              <a:extLst>
                <a:ext uri="{FF2B5EF4-FFF2-40B4-BE49-F238E27FC236}">
                  <a16:creationId xmlns:a16="http://schemas.microsoft.com/office/drawing/2014/main" id="{AF1955BD-A748-756E-D7ED-B2D35A39AB27}"/>
                </a:ext>
              </a:extLst>
            </p:cNvPr>
            <p:cNvCxnSpPr/>
            <p:nvPr/>
          </p:nvCxnSpPr>
          <p:spPr>
            <a:xfrm flipH="1">
              <a:off x="73152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72" name="Straight Connector 571">
              <a:extLst>
                <a:ext uri="{FF2B5EF4-FFF2-40B4-BE49-F238E27FC236}">
                  <a16:creationId xmlns:a16="http://schemas.microsoft.com/office/drawing/2014/main" id="{4574CF1F-0C89-73FD-EC23-7E46DA1F08B5}"/>
                </a:ext>
              </a:extLst>
            </p:cNvPr>
            <p:cNvCxnSpPr/>
            <p:nvPr/>
          </p:nvCxnSpPr>
          <p:spPr>
            <a:xfrm flipH="1">
              <a:off x="75184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73" name="Straight Connector 572">
              <a:extLst>
                <a:ext uri="{FF2B5EF4-FFF2-40B4-BE49-F238E27FC236}">
                  <a16:creationId xmlns:a16="http://schemas.microsoft.com/office/drawing/2014/main" id="{F131D6EB-5F2C-A5BB-E98C-547D82245228}"/>
                </a:ext>
              </a:extLst>
            </p:cNvPr>
            <p:cNvCxnSpPr/>
            <p:nvPr/>
          </p:nvCxnSpPr>
          <p:spPr>
            <a:xfrm flipH="1">
              <a:off x="7823200" y="-228600"/>
              <a:ext cx="0" cy="1524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74" name="Straight Connector 573">
              <a:extLst>
                <a:ext uri="{FF2B5EF4-FFF2-40B4-BE49-F238E27FC236}">
                  <a16:creationId xmlns:a16="http://schemas.microsoft.com/office/drawing/2014/main" id="{5247B6BA-7C8A-995A-C56A-489017203A7C}"/>
                </a:ext>
              </a:extLst>
            </p:cNvPr>
            <p:cNvCxnSpPr/>
            <p:nvPr/>
          </p:nvCxnSpPr>
          <p:spPr>
            <a:xfrm flipH="1">
              <a:off x="79248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75" name="Straight Connector 574">
              <a:extLst>
                <a:ext uri="{FF2B5EF4-FFF2-40B4-BE49-F238E27FC236}">
                  <a16:creationId xmlns:a16="http://schemas.microsoft.com/office/drawing/2014/main" id="{C1D0666E-E92D-2534-33FC-81B3D5B33E9D}"/>
                </a:ext>
              </a:extLst>
            </p:cNvPr>
            <p:cNvCxnSpPr/>
            <p:nvPr/>
          </p:nvCxnSpPr>
          <p:spPr>
            <a:xfrm flipH="1">
              <a:off x="8128000" y="-228600"/>
              <a:ext cx="0" cy="1524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76" name="Straight Connector 575">
              <a:extLst>
                <a:ext uri="{FF2B5EF4-FFF2-40B4-BE49-F238E27FC236}">
                  <a16:creationId xmlns:a16="http://schemas.microsoft.com/office/drawing/2014/main" id="{B6E9A317-3C78-6F86-E665-ECD03079B65E}"/>
                </a:ext>
              </a:extLst>
            </p:cNvPr>
            <p:cNvCxnSpPr/>
            <p:nvPr/>
          </p:nvCxnSpPr>
          <p:spPr>
            <a:xfrm flipH="1">
              <a:off x="83312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77" name="Straight Connector 576">
              <a:extLst>
                <a:ext uri="{FF2B5EF4-FFF2-40B4-BE49-F238E27FC236}">
                  <a16:creationId xmlns:a16="http://schemas.microsoft.com/office/drawing/2014/main" id="{025B8986-9FC6-ADA6-9B02-BEA16E3E3B57}"/>
                </a:ext>
              </a:extLst>
            </p:cNvPr>
            <p:cNvCxnSpPr/>
            <p:nvPr/>
          </p:nvCxnSpPr>
          <p:spPr>
            <a:xfrm flipH="1">
              <a:off x="85344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78" name="Straight Connector 577">
              <a:extLst>
                <a:ext uri="{FF2B5EF4-FFF2-40B4-BE49-F238E27FC236}">
                  <a16:creationId xmlns:a16="http://schemas.microsoft.com/office/drawing/2014/main" id="{EB9090C4-9FA5-AB1E-1962-BF022AC67E6E}"/>
                </a:ext>
              </a:extLst>
            </p:cNvPr>
            <p:cNvCxnSpPr/>
            <p:nvPr/>
          </p:nvCxnSpPr>
          <p:spPr>
            <a:xfrm flipH="1">
              <a:off x="8737600" y="-177800"/>
              <a:ext cx="0" cy="101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79" name="Straight Connector 578">
              <a:extLst>
                <a:ext uri="{FF2B5EF4-FFF2-40B4-BE49-F238E27FC236}">
                  <a16:creationId xmlns:a16="http://schemas.microsoft.com/office/drawing/2014/main" id="{A7DC5E42-5B1E-9A04-F9D0-89C6F53D8279}"/>
                </a:ext>
              </a:extLst>
            </p:cNvPr>
            <p:cNvCxnSpPr/>
            <p:nvPr/>
          </p:nvCxnSpPr>
          <p:spPr>
            <a:xfrm flipH="1">
              <a:off x="89408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80" name="Straight Connector 579">
              <a:extLst>
                <a:ext uri="{FF2B5EF4-FFF2-40B4-BE49-F238E27FC236}">
                  <a16:creationId xmlns:a16="http://schemas.microsoft.com/office/drawing/2014/main" id="{048F7F9E-8A1E-6060-2317-2EEC3AA72D33}"/>
                </a:ext>
              </a:extLst>
            </p:cNvPr>
            <p:cNvCxnSpPr/>
            <p:nvPr/>
          </p:nvCxnSpPr>
          <p:spPr>
            <a:xfrm flipH="1">
              <a:off x="9144000" y="-177800"/>
              <a:ext cx="0" cy="101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81" name="Straight Connector 580">
              <a:extLst>
                <a:ext uri="{FF2B5EF4-FFF2-40B4-BE49-F238E27FC236}">
                  <a16:creationId xmlns:a16="http://schemas.microsoft.com/office/drawing/2014/main" id="{B46B0057-F922-3010-085B-DD33BBCA160B}"/>
                </a:ext>
              </a:extLst>
            </p:cNvPr>
            <p:cNvCxnSpPr/>
            <p:nvPr/>
          </p:nvCxnSpPr>
          <p:spPr>
            <a:xfrm flipH="1">
              <a:off x="93472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82" name="Straight Connector 581">
              <a:extLst>
                <a:ext uri="{FF2B5EF4-FFF2-40B4-BE49-F238E27FC236}">
                  <a16:creationId xmlns:a16="http://schemas.microsoft.com/office/drawing/2014/main" id="{8FDFD816-2C93-7063-8D10-DF1602BCEA59}"/>
                </a:ext>
              </a:extLst>
            </p:cNvPr>
            <p:cNvCxnSpPr/>
            <p:nvPr/>
          </p:nvCxnSpPr>
          <p:spPr>
            <a:xfrm flipH="1">
              <a:off x="95504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83" name="Straight Connector 582">
              <a:extLst>
                <a:ext uri="{FF2B5EF4-FFF2-40B4-BE49-F238E27FC236}">
                  <a16:creationId xmlns:a16="http://schemas.microsoft.com/office/drawing/2014/main" id="{D4AD4558-CA13-F998-C692-CFA442B98CF3}"/>
                </a:ext>
              </a:extLst>
            </p:cNvPr>
            <p:cNvCxnSpPr/>
            <p:nvPr/>
          </p:nvCxnSpPr>
          <p:spPr>
            <a:xfrm flipH="1">
              <a:off x="97536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84" name="Straight Connector 583">
              <a:extLst>
                <a:ext uri="{FF2B5EF4-FFF2-40B4-BE49-F238E27FC236}">
                  <a16:creationId xmlns:a16="http://schemas.microsoft.com/office/drawing/2014/main" id="{EF5866EF-C47C-64B0-EF93-CD27EC61CE92}"/>
                </a:ext>
              </a:extLst>
            </p:cNvPr>
            <p:cNvCxnSpPr/>
            <p:nvPr/>
          </p:nvCxnSpPr>
          <p:spPr>
            <a:xfrm flipH="1">
              <a:off x="99568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85" name="Straight Connector 584">
              <a:extLst>
                <a:ext uri="{FF2B5EF4-FFF2-40B4-BE49-F238E27FC236}">
                  <a16:creationId xmlns:a16="http://schemas.microsoft.com/office/drawing/2014/main" id="{3A1DF5E2-1545-3752-0600-9F57DF24C442}"/>
                </a:ext>
              </a:extLst>
            </p:cNvPr>
            <p:cNvCxnSpPr/>
            <p:nvPr/>
          </p:nvCxnSpPr>
          <p:spPr>
            <a:xfrm flipH="1">
              <a:off x="101600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86" name="Straight Connector 585">
              <a:extLst>
                <a:ext uri="{FF2B5EF4-FFF2-40B4-BE49-F238E27FC236}">
                  <a16:creationId xmlns:a16="http://schemas.microsoft.com/office/drawing/2014/main" id="{5A8813E6-4FFB-5BA0-5D87-EAB56660D152}"/>
                </a:ext>
              </a:extLst>
            </p:cNvPr>
            <p:cNvCxnSpPr/>
            <p:nvPr/>
          </p:nvCxnSpPr>
          <p:spPr>
            <a:xfrm flipH="1">
              <a:off x="103632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87" name="Straight Connector 586">
              <a:extLst>
                <a:ext uri="{FF2B5EF4-FFF2-40B4-BE49-F238E27FC236}">
                  <a16:creationId xmlns:a16="http://schemas.microsoft.com/office/drawing/2014/main" id="{ACEECC28-0027-CF92-5878-E95F5C531126}"/>
                </a:ext>
              </a:extLst>
            </p:cNvPr>
            <p:cNvCxnSpPr/>
            <p:nvPr/>
          </p:nvCxnSpPr>
          <p:spPr>
            <a:xfrm flipH="1">
              <a:off x="105664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88" name="Straight Connector 587">
              <a:extLst>
                <a:ext uri="{FF2B5EF4-FFF2-40B4-BE49-F238E27FC236}">
                  <a16:creationId xmlns:a16="http://schemas.microsoft.com/office/drawing/2014/main" id="{CAA365F0-E71C-6AC3-F1A8-D703D8ED2784}"/>
                </a:ext>
              </a:extLst>
            </p:cNvPr>
            <p:cNvCxnSpPr/>
            <p:nvPr/>
          </p:nvCxnSpPr>
          <p:spPr>
            <a:xfrm flipH="1">
              <a:off x="107696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89" name="Straight Connector 588">
              <a:extLst>
                <a:ext uri="{FF2B5EF4-FFF2-40B4-BE49-F238E27FC236}">
                  <a16:creationId xmlns:a16="http://schemas.microsoft.com/office/drawing/2014/main" id="{53B3DCC7-EE6F-40AC-D98D-A51C8E0217B7}"/>
                </a:ext>
              </a:extLst>
            </p:cNvPr>
            <p:cNvCxnSpPr/>
            <p:nvPr/>
          </p:nvCxnSpPr>
          <p:spPr>
            <a:xfrm flipH="1">
              <a:off x="109728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90" name="Straight Connector 589">
              <a:extLst>
                <a:ext uri="{FF2B5EF4-FFF2-40B4-BE49-F238E27FC236}">
                  <a16:creationId xmlns:a16="http://schemas.microsoft.com/office/drawing/2014/main" id="{1B780AD5-F3B4-F31D-71D6-2E7ACD15B884}"/>
                </a:ext>
              </a:extLst>
            </p:cNvPr>
            <p:cNvCxnSpPr/>
            <p:nvPr/>
          </p:nvCxnSpPr>
          <p:spPr>
            <a:xfrm flipH="1">
              <a:off x="111760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91" name="Straight Connector 590">
              <a:extLst>
                <a:ext uri="{FF2B5EF4-FFF2-40B4-BE49-F238E27FC236}">
                  <a16:creationId xmlns:a16="http://schemas.microsoft.com/office/drawing/2014/main" id="{9A8DFB9D-F39D-52EA-3CA5-F90754515AE0}"/>
                </a:ext>
              </a:extLst>
            </p:cNvPr>
            <p:cNvCxnSpPr/>
            <p:nvPr/>
          </p:nvCxnSpPr>
          <p:spPr>
            <a:xfrm flipH="1">
              <a:off x="113792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92" name="Straight Connector 591">
              <a:extLst>
                <a:ext uri="{FF2B5EF4-FFF2-40B4-BE49-F238E27FC236}">
                  <a16:creationId xmlns:a16="http://schemas.microsoft.com/office/drawing/2014/main" id="{2DC8CB96-FC71-067C-1772-D404679BE65B}"/>
                </a:ext>
              </a:extLst>
            </p:cNvPr>
            <p:cNvCxnSpPr/>
            <p:nvPr/>
          </p:nvCxnSpPr>
          <p:spPr>
            <a:xfrm flipH="1">
              <a:off x="11582400" y="-279400"/>
              <a:ext cx="0" cy="2032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94" name="Straight Connector 593">
              <a:extLst>
                <a:ext uri="{FF2B5EF4-FFF2-40B4-BE49-F238E27FC236}">
                  <a16:creationId xmlns:a16="http://schemas.microsoft.com/office/drawing/2014/main" id="{CE448E3B-686D-F2E7-BE93-1A348BAA56B2}"/>
                </a:ext>
              </a:extLst>
            </p:cNvPr>
            <p:cNvCxnSpPr/>
            <p:nvPr/>
          </p:nvCxnSpPr>
          <p:spPr>
            <a:xfrm flipH="1">
              <a:off x="2032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95" name="Straight Connector 594">
              <a:extLst>
                <a:ext uri="{FF2B5EF4-FFF2-40B4-BE49-F238E27FC236}">
                  <a16:creationId xmlns:a16="http://schemas.microsoft.com/office/drawing/2014/main" id="{02A84058-B93F-7838-ED54-63279616A24A}"/>
                </a:ext>
              </a:extLst>
            </p:cNvPr>
            <p:cNvCxnSpPr/>
            <p:nvPr/>
          </p:nvCxnSpPr>
          <p:spPr>
            <a:xfrm flipH="1">
              <a:off x="4064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96" name="Straight Connector 595">
              <a:extLst>
                <a:ext uri="{FF2B5EF4-FFF2-40B4-BE49-F238E27FC236}">
                  <a16:creationId xmlns:a16="http://schemas.microsoft.com/office/drawing/2014/main" id="{8FD5D376-90F3-B3D0-734B-F29027A31096}"/>
                </a:ext>
              </a:extLst>
            </p:cNvPr>
            <p:cNvCxnSpPr/>
            <p:nvPr/>
          </p:nvCxnSpPr>
          <p:spPr>
            <a:xfrm flipH="1">
              <a:off x="117856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97" name="Straight Connector 596">
              <a:extLst>
                <a:ext uri="{FF2B5EF4-FFF2-40B4-BE49-F238E27FC236}">
                  <a16:creationId xmlns:a16="http://schemas.microsoft.com/office/drawing/2014/main" id="{97E5D813-8AA6-6DA7-A49C-BE58F1B34337}"/>
                </a:ext>
              </a:extLst>
            </p:cNvPr>
            <p:cNvCxnSpPr/>
            <p:nvPr/>
          </p:nvCxnSpPr>
          <p:spPr>
            <a:xfrm flipH="1">
              <a:off x="119888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98" name="Straight Connector 597">
              <a:extLst>
                <a:ext uri="{FF2B5EF4-FFF2-40B4-BE49-F238E27FC236}">
                  <a16:creationId xmlns:a16="http://schemas.microsoft.com/office/drawing/2014/main" id="{5D236085-90A1-DB70-640B-8E472222F4BA}"/>
                </a:ext>
              </a:extLst>
            </p:cNvPr>
            <p:cNvCxnSpPr/>
            <p:nvPr/>
          </p:nvCxnSpPr>
          <p:spPr>
            <a:xfrm flipH="1">
              <a:off x="5892800" y="-330200"/>
              <a:ext cx="0" cy="101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99" name="Straight Connector 598">
              <a:extLst>
                <a:ext uri="{FF2B5EF4-FFF2-40B4-BE49-F238E27FC236}">
                  <a16:creationId xmlns:a16="http://schemas.microsoft.com/office/drawing/2014/main" id="{398FF3E4-1ED1-8D51-B1F2-66042B748C20}"/>
                </a:ext>
              </a:extLst>
            </p:cNvPr>
            <p:cNvCxnSpPr/>
            <p:nvPr/>
          </p:nvCxnSpPr>
          <p:spPr>
            <a:xfrm flipH="1">
              <a:off x="6299200" y="-330200"/>
              <a:ext cx="0" cy="101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01" name="Straight Connector 600">
              <a:extLst>
                <a:ext uri="{FF2B5EF4-FFF2-40B4-BE49-F238E27FC236}">
                  <a16:creationId xmlns:a16="http://schemas.microsoft.com/office/drawing/2014/main" id="{6095E940-A401-0721-34C9-8A40518FB516}"/>
                </a:ext>
              </a:extLst>
            </p:cNvPr>
            <p:cNvCxnSpPr/>
            <p:nvPr/>
          </p:nvCxnSpPr>
          <p:spPr>
            <a:xfrm>
              <a:off x="-152400" y="279400"/>
              <a:ext cx="508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02" name="Straight Connector 601">
              <a:extLst>
                <a:ext uri="{FF2B5EF4-FFF2-40B4-BE49-F238E27FC236}">
                  <a16:creationId xmlns:a16="http://schemas.microsoft.com/office/drawing/2014/main" id="{6E0C91D8-2789-586B-850C-2B6AF75AB3F1}"/>
                </a:ext>
              </a:extLst>
            </p:cNvPr>
            <p:cNvCxnSpPr/>
            <p:nvPr/>
          </p:nvCxnSpPr>
          <p:spPr>
            <a:xfrm>
              <a:off x="-152400" y="787400"/>
              <a:ext cx="508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03" name="Straight Connector 602">
              <a:extLst>
                <a:ext uri="{FF2B5EF4-FFF2-40B4-BE49-F238E27FC236}">
                  <a16:creationId xmlns:a16="http://schemas.microsoft.com/office/drawing/2014/main" id="{C65BC6F8-6D5E-878E-30A0-8BFB97EB3A35}"/>
                </a:ext>
              </a:extLst>
            </p:cNvPr>
            <p:cNvCxnSpPr/>
            <p:nvPr/>
          </p:nvCxnSpPr>
          <p:spPr>
            <a:xfrm>
              <a:off x="-152400" y="584200"/>
              <a:ext cx="508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04" name="Straight Connector 603">
              <a:extLst>
                <a:ext uri="{FF2B5EF4-FFF2-40B4-BE49-F238E27FC236}">
                  <a16:creationId xmlns:a16="http://schemas.microsoft.com/office/drawing/2014/main" id="{7CD01F2C-CFA1-AF3A-E462-F3DFEB7BA6B5}"/>
                </a:ext>
              </a:extLst>
            </p:cNvPr>
            <p:cNvCxnSpPr/>
            <p:nvPr/>
          </p:nvCxnSpPr>
          <p:spPr>
            <a:xfrm>
              <a:off x="-203200" y="381000"/>
              <a:ext cx="101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05" name="Straight Connector 604">
              <a:extLst>
                <a:ext uri="{FF2B5EF4-FFF2-40B4-BE49-F238E27FC236}">
                  <a16:creationId xmlns:a16="http://schemas.microsoft.com/office/drawing/2014/main" id="{6A28F8B8-71B2-2C78-10FE-14714828B9F8}"/>
                </a:ext>
              </a:extLst>
            </p:cNvPr>
            <p:cNvCxnSpPr/>
            <p:nvPr/>
          </p:nvCxnSpPr>
          <p:spPr>
            <a:xfrm>
              <a:off x="-152400" y="990600"/>
              <a:ext cx="508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06" name="Straight Connector 605">
              <a:extLst>
                <a:ext uri="{FF2B5EF4-FFF2-40B4-BE49-F238E27FC236}">
                  <a16:creationId xmlns:a16="http://schemas.microsoft.com/office/drawing/2014/main" id="{0B0E6785-BFF6-C9ED-0DF6-4D1FC08D9759}"/>
                </a:ext>
              </a:extLst>
            </p:cNvPr>
            <p:cNvCxnSpPr/>
            <p:nvPr/>
          </p:nvCxnSpPr>
          <p:spPr>
            <a:xfrm>
              <a:off x="-152400" y="1193800"/>
              <a:ext cx="508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07" name="Straight Connector 606">
              <a:extLst>
                <a:ext uri="{FF2B5EF4-FFF2-40B4-BE49-F238E27FC236}">
                  <a16:creationId xmlns:a16="http://schemas.microsoft.com/office/drawing/2014/main" id="{2357CEA0-6726-6883-57BD-F7A9866DE9D6}"/>
                </a:ext>
              </a:extLst>
            </p:cNvPr>
            <p:cNvCxnSpPr/>
            <p:nvPr/>
          </p:nvCxnSpPr>
          <p:spPr>
            <a:xfrm>
              <a:off x="-203200" y="1397000"/>
              <a:ext cx="101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08" name="Straight Connector 607">
              <a:extLst>
                <a:ext uri="{FF2B5EF4-FFF2-40B4-BE49-F238E27FC236}">
                  <a16:creationId xmlns:a16="http://schemas.microsoft.com/office/drawing/2014/main" id="{53A14786-7EC7-851B-C041-476BECB84CCF}"/>
                </a:ext>
              </a:extLst>
            </p:cNvPr>
            <p:cNvCxnSpPr/>
            <p:nvPr/>
          </p:nvCxnSpPr>
          <p:spPr>
            <a:xfrm>
              <a:off x="-203200" y="1600200"/>
              <a:ext cx="101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09" name="Straight Connector 608">
              <a:extLst>
                <a:ext uri="{FF2B5EF4-FFF2-40B4-BE49-F238E27FC236}">
                  <a16:creationId xmlns:a16="http://schemas.microsoft.com/office/drawing/2014/main" id="{C0C88909-E77C-DBD7-A2B9-028D5D0044E7}"/>
                </a:ext>
              </a:extLst>
            </p:cNvPr>
            <p:cNvCxnSpPr/>
            <p:nvPr/>
          </p:nvCxnSpPr>
          <p:spPr>
            <a:xfrm>
              <a:off x="-152400" y="1803400"/>
              <a:ext cx="508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10" name="Straight Connector 609">
              <a:extLst>
                <a:ext uri="{FF2B5EF4-FFF2-40B4-BE49-F238E27FC236}">
                  <a16:creationId xmlns:a16="http://schemas.microsoft.com/office/drawing/2014/main" id="{BCAB399B-CF8A-776E-E826-738F3118AE13}"/>
                </a:ext>
              </a:extLst>
            </p:cNvPr>
            <p:cNvCxnSpPr/>
            <p:nvPr/>
          </p:nvCxnSpPr>
          <p:spPr>
            <a:xfrm>
              <a:off x="-152400" y="2006600"/>
              <a:ext cx="508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11" name="Straight Connector 610">
              <a:extLst>
                <a:ext uri="{FF2B5EF4-FFF2-40B4-BE49-F238E27FC236}">
                  <a16:creationId xmlns:a16="http://schemas.microsoft.com/office/drawing/2014/main" id="{868DC6BD-9FBB-1286-9464-F8F2D67D59FC}"/>
                </a:ext>
              </a:extLst>
            </p:cNvPr>
            <p:cNvCxnSpPr/>
            <p:nvPr/>
          </p:nvCxnSpPr>
          <p:spPr>
            <a:xfrm>
              <a:off x="-152400" y="2209800"/>
              <a:ext cx="508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1E25D695-C1C9-EEEC-CDA3-44D6E5F34E77}"/>
                </a:ext>
              </a:extLst>
            </p:cNvPr>
            <p:cNvCxnSpPr/>
            <p:nvPr/>
          </p:nvCxnSpPr>
          <p:spPr>
            <a:xfrm>
              <a:off x="-152400" y="2413000"/>
              <a:ext cx="508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13" name="Straight Connector 612">
              <a:extLst>
                <a:ext uri="{FF2B5EF4-FFF2-40B4-BE49-F238E27FC236}">
                  <a16:creationId xmlns:a16="http://schemas.microsoft.com/office/drawing/2014/main" id="{D2AA6A8C-8B7C-BEC1-612C-95079A552131}"/>
                </a:ext>
              </a:extLst>
            </p:cNvPr>
            <p:cNvCxnSpPr/>
            <p:nvPr/>
          </p:nvCxnSpPr>
          <p:spPr>
            <a:xfrm>
              <a:off x="-203200" y="2616200"/>
              <a:ext cx="101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14" name="Straight Connector 613">
              <a:extLst>
                <a:ext uri="{FF2B5EF4-FFF2-40B4-BE49-F238E27FC236}">
                  <a16:creationId xmlns:a16="http://schemas.microsoft.com/office/drawing/2014/main" id="{7926D3C4-502F-6EB2-103F-7BB89C56D324}"/>
                </a:ext>
              </a:extLst>
            </p:cNvPr>
            <p:cNvCxnSpPr/>
            <p:nvPr/>
          </p:nvCxnSpPr>
          <p:spPr>
            <a:xfrm>
              <a:off x="-203200" y="2819400"/>
              <a:ext cx="101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15" name="Straight Connector 614">
              <a:extLst>
                <a:ext uri="{FF2B5EF4-FFF2-40B4-BE49-F238E27FC236}">
                  <a16:creationId xmlns:a16="http://schemas.microsoft.com/office/drawing/2014/main" id="{03F5467B-FE3D-54F0-2824-E3089A1941E5}"/>
                </a:ext>
              </a:extLst>
            </p:cNvPr>
            <p:cNvCxnSpPr/>
            <p:nvPr/>
          </p:nvCxnSpPr>
          <p:spPr>
            <a:xfrm>
              <a:off x="-254000" y="3022600"/>
              <a:ext cx="1524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16" name="Straight Connector 615">
              <a:extLst>
                <a:ext uri="{FF2B5EF4-FFF2-40B4-BE49-F238E27FC236}">
                  <a16:creationId xmlns:a16="http://schemas.microsoft.com/office/drawing/2014/main" id="{C9639B25-595E-6A2F-66DE-AAEE14F51126}"/>
                </a:ext>
              </a:extLst>
            </p:cNvPr>
            <p:cNvCxnSpPr/>
            <p:nvPr/>
          </p:nvCxnSpPr>
          <p:spPr>
            <a:xfrm>
              <a:off x="-254000" y="3225800"/>
              <a:ext cx="1524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17" name="Straight Connector 616">
              <a:extLst>
                <a:ext uri="{FF2B5EF4-FFF2-40B4-BE49-F238E27FC236}">
                  <a16:creationId xmlns:a16="http://schemas.microsoft.com/office/drawing/2014/main" id="{8E825E18-1B62-5390-7448-2A1060D38A41}"/>
                </a:ext>
              </a:extLst>
            </p:cNvPr>
            <p:cNvCxnSpPr/>
            <p:nvPr/>
          </p:nvCxnSpPr>
          <p:spPr>
            <a:xfrm>
              <a:off x="-152400" y="3429000"/>
              <a:ext cx="508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18" name="Straight Connector 617">
              <a:extLst>
                <a:ext uri="{FF2B5EF4-FFF2-40B4-BE49-F238E27FC236}">
                  <a16:creationId xmlns:a16="http://schemas.microsoft.com/office/drawing/2014/main" id="{C47ACFEC-CFA8-DCC6-1DBA-0B99F8F7F19B}"/>
                </a:ext>
              </a:extLst>
            </p:cNvPr>
            <p:cNvCxnSpPr/>
            <p:nvPr/>
          </p:nvCxnSpPr>
          <p:spPr>
            <a:xfrm>
              <a:off x="-152400" y="3632200"/>
              <a:ext cx="508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19" name="Straight Connector 618">
              <a:extLst>
                <a:ext uri="{FF2B5EF4-FFF2-40B4-BE49-F238E27FC236}">
                  <a16:creationId xmlns:a16="http://schemas.microsoft.com/office/drawing/2014/main" id="{EFE363C0-E0EE-758A-D7D7-44C3A27B037B}"/>
                </a:ext>
              </a:extLst>
            </p:cNvPr>
            <p:cNvCxnSpPr/>
            <p:nvPr/>
          </p:nvCxnSpPr>
          <p:spPr>
            <a:xfrm>
              <a:off x="-203200" y="3835400"/>
              <a:ext cx="101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20" name="Straight Connector 619">
              <a:extLst>
                <a:ext uri="{FF2B5EF4-FFF2-40B4-BE49-F238E27FC236}">
                  <a16:creationId xmlns:a16="http://schemas.microsoft.com/office/drawing/2014/main" id="{1256F036-4A4D-1E9E-1A5F-DCC19044319F}"/>
                </a:ext>
              </a:extLst>
            </p:cNvPr>
            <p:cNvCxnSpPr/>
            <p:nvPr/>
          </p:nvCxnSpPr>
          <p:spPr>
            <a:xfrm>
              <a:off x="-203200" y="4038600"/>
              <a:ext cx="101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21" name="Straight Connector 620">
              <a:extLst>
                <a:ext uri="{FF2B5EF4-FFF2-40B4-BE49-F238E27FC236}">
                  <a16:creationId xmlns:a16="http://schemas.microsoft.com/office/drawing/2014/main" id="{C3686432-DD24-E167-2715-EC8E69A77B28}"/>
                </a:ext>
              </a:extLst>
            </p:cNvPr>
            <p:cNvCxnSpPr/>
            <p:nvPr/>
          </p:nvCxnSpPr>
          <p:spPr>
            <a:xfrm>
              <a:off x="-152400" y="4241800"/>
              <a:ext cx="508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22" name="Straight Connector 621">
              <a:extLst>
                <a:ext uri="{FF2B5EF4-FFF2-40B4-BE49-F238E27FC236}">
                  <a16:creationId xmlns:a16="http://schemas.microsoft.com/office/drawing/2014/main" id="{0E0CAE4F-0E99-E72E-1016-56A9182C682B}"/>
                </a:ext>
              </a:extLst>
            </p:cNvPr>
            <p:cNvCxnSpPr/>
            <p:nvPr/>
          </p:nvCxnSpPr>
          <p:spPr>
            <a:xfrm>
              <a:off x="-152400" y="4445000"/>
              <a:ext cx="508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23" name="Straight Connector 622">
              <a:extLst>
                <a:ext uri="{FF2B5EF4-FFF2-40B4-BE49-F238E27FC236}">
                  <a16:creationId xmlns:a16="http://schemas.microsoft.com/office/drawing/2014/main" id="{53336AC3-6DDB-86F9-9A7D-257ACB7989DC}"/>
                </a:ext>
              </a:extLst>
            </p:cNvPr>
            <p:cNvCxnSpPr/>
            <p:nvPr/>
          </p:nvCxnSpPr>
          <p:spPr>
            <a:xfrm>
              <a:off x="-254000" y="4648200"/>
              <a:ext cx="1524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24" name="Straight Connector 623">
              <a:extLst>
                <a:ext uri="{FF2B5EF4-FFF2-40B4-BE49-F238E27FC236}">
                  <a16:creationId xmlns:a16="http://schemas.microsoft.com/office/drawing/2014/main" id="{CCB74389-CC92-2002-D402-1DBBBED7A822}"/>
                </a:ext>
              </a:extLst>
            </p:cNvPr>
            <p:cNvCxnSpPr/>
            <p:nvPr/>
          </p:nvCxnSpPr>
          <p:spPr>
            <a:xfrm>
              <a:off x="-254000" y="4851400"/>
              <a:ext cx="1524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25" name="Straight Connector 624">
              <a:extLst>
                <a:ext uri="{FF2B5EF4-FFF2-40B4-BE49-F238E27FC236}">
                  <a16:creationId xmlns:a16="http://schemas.microsoft.com/office/drawing/2014/main" id="{9BBA4A47-0FBB-01B7-12C2-8E1753941A49}"/>
                </a:ext>
              </a:extLst>
            </p:cNvPr>
            <p:cNvCxnSpPr/>
            <p:nvPr/>
          </p:nvCxnSpPr>
          <p:spPr>
            <a:xfrm>
              <a:off x="-203200" y="5054600"/>
              <a:ext cx="101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26" name="Straight Connector 625">
              <a:extLst>
                <a:ext uri="{FF2B5EF4-FFF2-40B4-BE49-F238E27FC236}">
                  <a16:creationId xmlns:a16="http://schemas.microsoft.com/office/drawing/2014/main" id="{D004C5B6-F03D-5DE8-E68F-3AE4F793E861}"/>
                </a:ext>
              </a:extLst>
            </p:cNvPr>
            <p:cNvCxnSpPr/>
            <p:nvPr/>
          </p:nvCxnSpPr>
          <p:spPr>
            <a:xfrm>
              <a:off x="-203200" y="5257800"/>
              <a:ext cx="101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27" name="Straight Connector 626">
              <a:extLst>
                <a:ext uri="{FF2B5EF4-FFF2-40B4-BE49-F238E27FC236}">
                  <a16:creationId xmlns:a16="http://schemas.microsoft.com/office/drawing/2014/main" id="{09051E2F-A7DB-6C7D-0E17-A29B16B9BB68}"/>
                </a:ext>
              </a:extLst>
            </p:cNvPr>
            <p:cNvCxnSpPr/>
            <p:nvPr/>
          </p:nvCxnSpPr>
          <p:spPr>
            <a:xfrm>
              <a:off x="-152400" y="5461000"/>
              <a:ext cx="508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28" name="Straight Connector 627">
              <a:extLst>
                <a:ext uri="{FF2B5EF4-FFF2-40B4-BE49-F238E27FC236}">
                  <a16:creationId xmlns:a16="http://schemas.microsoft.com/office/drawing/2014/main" id="{D8ABCA41-6CE5-722F-3067-3FA5B8D5156F}"/>
                </a:ext>
              </a:extLst>
            </p:cNvPr>
            <p:cNvCxnSpPr/>
            <p:nvPr/>
          </p:nvCxnSpPr>
          <p:spPr>
            <a:xfrm>
              <a:off x="-152400" y="5664200"/>
              <a:ext cx="508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29" name="Straight Connector 628">
              <a:extLst>
                <a:ext uri="{FF2B5EF4-FFF2-40B4-BE49-F238E27FC236}">
                  <a16:creationId xmlns:a16="http://schemas.microsoft.com/office/drawing/2014/main" id="{C699AE77-E204-CCB9-6118-A68AC4B33AF0}"/>
                </a:ext>
              </a:extLst>
            </p:cNvPr>
            <p:cNvCxnSpPr/>
            <p:nvPr/>
          </p:nvCxnSpPr>
          <p:spPr>
            <a:xfrm>
              <a:off x="-152400" y="5867400"/>
              <a:ext cx="508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30" name="Straight Connector 629">
              <a:extLst>
                <a:ext uri="{FF2B5EF4-FFF2-40B4-BE49-F238E27FC236}">
                  <a16:creationId xmlns:a16="http://schemas.microsoft.com/office/drawing/2014/main" id="{E943A7C8-4C94-7FCC-1742-27A7BF9F6FD5}"/>
                </a:ext>
              </a:extLst>
            </p:cNvPr>
            <p:cNvCxnSpPr/>
            <p:nvPr/>
          </p:nvCxnSpPr>
          <p:spPr>
            <a:xfrm>
              <a:off x="-152400" y="6070600"/>
              <a:ext cx="508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31" name="Straight Connector 630">
              <a:extLst>
                <a:ext uri="{FF2B5EF4-FFF2-40B4-BE49-F238E27FC236}">
                  <a16:creationId xmlns:a16="http://schemas.microsoft.com/office/drawing/2014/main" id="{50947452-EAD0-668A-3E77-1BFEF1BCD581}"/>
                </a:ext>
              </a:extLst>
            </p:cNvPr>
            <p:cNvCxnSpPr/>
            <p:nvPr/>
          </p:nvCxnSpPr>
          <p:spPr>
            <a:xfrm>
              <a:off x="-203200" y="6273800"/>
              <a:ext cx="101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32" name="Straight Connector 631">
              <a:extLst>
                <a:ext uri="{FF2B5EF4-FFF2-40B4-BE49-F238E27FC236}">
                  <a16:creationId xmlns:a16="http://schemas.microsoft.com/office/drawing/2014/main" id="{DD31B4FC-0FE7-431E-CE7F-ED39AD1508FB}"/>
                </a:ext>
              </a:extLst>
            </p:cNvPr>
            <p:cNvCxnSpPr/>
            <p:nvPr/>
          </p:nvCxnSpPr>
          <p:spPr>
            <a:xfrm>
              <a:off x="-152400" y="6324600"/>
              <a:ext cx="508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33" name="Straight Connector 632">
              <a:extLst>
                <a:ext uri="{FF2B5EF4-FFF2-40B4-BE49-F238E27FC236}">
                  <a16:creationId xmlns:a16="http://schemas.microsoft.com/office/drawing/2014/main" id="{937ADBB6-7460-DD0C-6040-C5E47275159B}"/>
                </a:ext>
              </a:extLst>
            </p:cNvPr>
            <p:cNvCxnSpPr/>
            <p:nvPr/>
          </p:nvCxnSpPr>
          <p:spPr>
            <a:xfrm>
              <a:off x="-152400" y="6527800"/>
              <a:ext cx="508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34" name="Straight Connector 633">
              <a:extLst>
                <a:ext uri="{FF2B5EF4-FFF2-40B4-BE49-F238E27FC236}">
                  <a16:creationId xmlns:a16="http://schemas.microsoft.com/office/drawing/2014/main" id="{CA595009-CD54-1B6B-8D9F-1DA04B8E7841}"/>
                </a:ext>
              </a:extLst>
            </p:cNvPr>
            <p:cNvCxnSpPr/>
            <p:nvPr/>
          </p:nvCxnSpPr>
          <p:spPr>
            <a:xfrm>
              <a:off x="-152400" y="6578600"/>
              <a:ext cx="508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35" name="Straight Connector 634">
              <a:extLst>
                <a:ext uri="{FF2B5EF4-FFF2-40B4-BE49-F238E27FC236}">
                  <a16:creationId xmlns:a16="http://schemas.microsoft.com/office/drawing/2014/main" id="{2B179F18-9FE2-E498-58DC-9875FF47D48B}"/>
                </a:ext>
              </a:extLst>
            </p:cNvPr>
            <p:cNvCxnSpPr/>
            <p:nvPr/>
          </p:nvCxnSpPr>
          <p:spPr>
            <a:xfrm>
              <a:off x="-152400" y="6781800"/>
              <a:ext cx="508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37" name="Straight Connector 636">
              <a:extLst>
                <a:ext uri="{FF2B5EF4-FFF2-40B4-BE49-F238E27FC236}">
                  <a16:creationId xmlns:a16="http://schemas.microsoft.com/office/drawing/2014/main" id="{4970919A-9CD5-C0CC-0267-42EC5559928D}"/>
                </a:ext>
              </a:extLst>
            </p:cNvPr>
            <p:cNvCxnSpPr/>
            <p:nvPr/>
          </p:nvCxnSpPr>
          <p:spPr>
            <a:xfrm>
              <a:off x="-355600" y="3835400"/>
              <a:ext cx="101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38" name="Straight Connector 637">
              <a:extLst>
                <a:ext uri="{FF2B5EF4-FFF2-40B4-BE49-F238E27FC236}">
                  <a16:creationId xmlns:a16="http://schemas.microsoft.com/office/drawing/2014/main" id="{2B963BD9-92DF-FF13-F685-D4599E73BB97}"/>
                </a:ext>
              </a:extLst>
            </p:cNvPr>
            <p:cNvCxnSpPr/>
            <p:nvPr/>
          </p:nvCxnSpPr>
          <p:spPr>
            <a:xfrm>
              <a:off x="-355600" y="4038600"/>
              <a:ext cx="101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40" name="Straight Connector 639">
              <a:extLst>
                <a:ext uri="{FF2B5EF4-FFF2-40B4-BE49-F238E27FC236}">
                  <a16:creationId xmlns:a16="http://schemas.microsoft.com/office/drawing/2014/main" id="{1BC2CFB2-3A2B-4C75-4E77-438BCB0F3F8C}"/>
                </a:ext>
              </a:extLst>
            </p:cNvPr>
            <p:cNvCxnSpPr/>
            <p:nvPr/>
          </p:nvCxnSpPr>
          <p:spPr>
            <a:xfrm>
              <a:off x="-355600" y="6273800"/>
              <a:ext cx="101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41" name="Straight Connector 640">
              <a:extLst>
                <a:ext uri="{FF2B5EF4-FFF2-40B4-BE49-F238E27FC236}">
                  <a16:creationId xmlns:a16="http://schemas.microsoft.com/office/drawing/2014/main" id="{42772E8F-76CC-2C6C-3660-BF3ABB87B872}"/>
                </a:ext>
              </a:extLst>
            </p:cNvPr>
            <p:cNvCxnSpPr/>
            <p:nvPr/>
          </p:nvCxnSpPr>
          <p:spPr>
            <a:xfrm>
              <a:off x="-152400" y="76200"/>
              <a:ext cx="508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42" name="Straight Connector 641">
              <a:extLst>
                <a:ext uri="{FF2B5EF4-FFF2-40B4-BE49-F238E27FC236}">
                  <a16:creationId xmlns:a16="http://schemas.microsoft.com/office/drawing/2014/main" id="{6E3632F8-F2E3-25C9-690B-C73DF4FA8534}"/>
                </a:ext>
              </a:extLst>
            </p:cNvPr>
            <p:cNvCxnSpPr/>
            <p:nvPr/>
          </p:nvCxnSpPr>
          <p:spPr>
            <a:xfrm>
              <a:off x="-355600" y="1600200"/>
              <a:ext cx="101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43" name="Straight Connector 642">
              <a:extLst>
                <a:ext uri="{FF2B5EF4-FFF2-40B4-BE49-F238E27FC236}">
                  <a16:creationId xmlns:a16="http://schemas.microsoft.com/office/drawing/2014/main" id="{A100E2E5-AD1D-B3D4-D7BD-BE18B05825D3}"/>
                </a:ext>
              </a:extLst>
            </p:cNvPr>
            <p:cNvCxnSpPr/>
            <p:nvPr/>
          </p:nvCxnSpPr>
          <p:spPr>
            <a:xfrm>
              <a:off x="-355600" y="1397000"/>
              <a:ext cx="101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44" name="Straight Connector 643">
              <a:extLst>
                <a:ext uri="{FF2B5EF4-FFF2-40B4-BE49-F238E27FC236}">
                  <a16:creationId xmlns:a16="http://schemas.microsoft.com/office/drawing/2014/main" id="{9515AD02-D8EC-1249-38CB-5BEF1ADA3C86}"/>
                </a:ext>
              </a:extLst>
            </p:cNvPr>
            <p:cNvCxnSpPr/>
            <p:nvPr/>
          </p:nvCxnSpPr>
          <p:spPr>
            <a:xfrm>
              <a:off x="-355600" y="381000"/>
              <a:ext cx="101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45" name="Straight Connector 644">
              <a:extLst>
                <a:ext uri="{FF2B5EF4-FFF2-40B4-BE49-F238E27FC236}">
                  <a16:creationId xmlns:a16="http://schemas.microsoft.com/office/drawing/2014/main" id="{2EEECE57-6126-4DDB-25E2-A496262849CC}"/>
                </a:ext>
              </a:extLst>
            </p:cNvPr>
            <p:cNvCxnSpPr/>
            <p:nvPr/>
          </p:nvCxnSpPr>
          <p:spPr>
            <a:xfrm>
              <a:off x="-355600" y="3937000"/>
              <a:ext cx="2540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46" name="Straight Connector 645">
              <a:extLst>
                <a:ext uri="{FF2B5EF4-FFF2-40B4-BE49-F238E27FC236}">
                  <a16:creationId xmlns:a16="http://schemas.microsoft.com/office/drawing/2014/main" id="{A33CD08E-3D5F-E423-EA6C-41CDB09E4946}"/>
                </a:ext>
              </a:extLst>
            </p:cNvPr>
            <p:cNvCxnSpPr/>
            <p:nvPr/>
          </p:nvCxnSpPr>
          <p:spPr>
            <a:xfrm>
              <a:off x="-355600" y="889000"/>
              <a:ext cx="2540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48" name="Straight Connector 647">
              <a:extLst>
                <a:ext uri="{FF2B5EF4-FFF2-40B4-BE49-F238E27FC236}">
                  <a16:creationId xmlns:a16="http://schemas.microsoft.com/office/drawing/2014/main" id="{2F4A3ECA-2825-7826-2925-38F6857BBA9D}"/>
                </a:ext>
              </a:extLst>
            </p:cNvPr>
            <p:cNvCxnSpPr/>
            <p:nvPr/>
          </p:nvCxnSpPr>
          <p:spPr>
            <a:xfrm flipH="1">
              <a:off x="44704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649" name="Straight Connector 648">
              <a:extLst>
                <a:ext uri="{FF2B5EF4-FFF2-40B4-BE49-F238E27FC236}">
                  <a16:creationId xmlns:a16="http://schemas.microsoft.com/office/drawing/2014/main" id="{FAA54607-9340-DF57-EEED-6A94B812CBD4}"/>
                </a:ext>
              </a:extLst>
            </p:cNvPr>
            <p:cNvCxnSpPr/>
            <p:nvPr/>
          </p:nvCxnSpPr>
          <p:spPr>
            <a:xfrm flipH="1">
              <a:off x="7721600" y="-127000"/>
              <a:ext cx="0" cy="508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grpSp>
      <p:grpSp>
        <p:nvGrpSpPr>
          <p:cNvPr id="537" name="Grid Structure 4pt/8px" hidden="1">
            <a:extLst>
              <a:ext uri="{FF2B5EF4-FFF2-40B4-BE49-F238E27FC236}">
                <a16:creationId xmlns:a16="http://schemas.microsoft.com/office/drawing/2014/main" id="{17F06CAB-5E70-ED5E-6F69-21DB28F66836}"/>
              </a:ext>
            </a:extLst>
          </p:cNvPr>
          <p:cNvGrpSpPr/>
          <p:nvPr/>
        </p:nvGrpSpPr>
        <p:grpSpPr>
          <a:xfrm>
            <a:off x="203200" y="76200"/>
            <a:ext cx="11785600" cy="6705600"/>
            <a:chOff x="203200" y="76200"/>
            <a:chExt cx="11785600" cy="6705600"/>
          </a:xfrm>
        </p:grpSpPr>
        <p:cxnSp>
          <p:nvCxnSpPr>
            <p:cNvPr id="479" name="Straight Connector 478">
              <a:extLst>
                <a:ext uri="{FF2B5EF4-FFF2-40B4-BE49-F238E27FC236}">
                  <a16:creationId xmlns:a16="http://schemas.microsoft.com/office/drawing/2014/main" id="{34D2403A-9E8C-5C39-9611-5C6026E28FE0}"/>
                </a:ext>
              </a:extLst>
            </p:cNvPr>
            <p:cNvCxnSpPr/>
            <p:nvPr/>
          </p:nvCxnSpPr>
          <p:spPr>
            <a:xfrm>
              <a:off x="203200" y="762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52" name="Straight Connector 351">
              <a:extLst>
                <a:ext uri="{FF2B5EF4-FFF2-40B4-BE49-F238E27FC236}">
                  <a16:creationId xmlns:a16="http://schemas.microsoft.com/office/drawing/2014/main" id="{DB2C721B-E9C3-23FE-71DC-76B704DAC12B}"/>
                </a:ext>
              </a:extLst>
            </p:cNvPr>
            <p:cNvCxnSpPr/>
            <p:nvPr/>
          </p:nvCxnSpPr>
          <p:spPr>
            <a:xfrm>
              <a:off x="203200" y="2794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53" name="Straight Connector 352">
              <a:extLst>
                <a:ext uri="{FF2B5EF4-FFF2-40B4-BE49-F238E27FC236}">
                  <a16:creationId xmlns:a16="http://schemas.microsoft.com/office/drawing/2014/main" id="{973E380C-48CF-9EE2-F928-02CDC3F93EE7}"/>
                </a:ext>
              </a:extLst>
            </p:cNvPr>
            <p:cNvCxnSpPr/>
            <p:nvPr/>
          </p:nvCxnSpPr>
          <p:spPr>
            <a:xfrm>
              <a:off x="203200" y="3810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54" name="Straight Connector 353">
              <a:extLst>
                <a:ext uri="{FF2B5EF4-FFF2-40B4-BE49-F238E27FC236}">
                  <a16:creationId xmlns:a16="http://schemas.microsoft.com/office/drawing/2014/main" id="{29DCF932-F4D4-35CD-05D5-670C57F85362}"/>
                </a:ext>
              </a:extLst>
            </p:cNvPr>
            <p:cNvCxnSpPr/>
            <p:nvPr/>
          </p:nvCxnSpPr>
          <p:spPr>
            <a:xfrm>
              <a:off x="203200" y="5842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55" name="Straight Connector 354">
              <a:extLst>
                <a:ext uri="{FF2B5EF4-FFF2-40B4-BE49-F238E27FC236}">
                  <a16:creationId xmlns:a16="http://schemas.microsoft.com/office/drawing/2014/main" id="{FB2A616B-0A95-F02E-1394-F50ED1398D37}"/>
                </a:ext>
              </a:extLst>
            </p:cNvPr>
            <p:cNvCxnSpPr/>
            <p:nvPr/>
          </p:nvCxnSpPr>
          <p:spPr>
            <a:xfrm>
              <a:off x="203200" y="7874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57" name="Straight Connector 356">
              <a:extLst>
                <a:ext uri="{FF2B5EF4-FFF2-40B4-BE49-F238E27FC236}">
                  <a16:creationId xmlns:a16="http://schemas.microsoft.com/office/drawing/2014/main" id="{F9F49583-8544-EB28-23CE-B0CF778FF2BD}"/>
                </a:ext>
              </a:extLst>
            </p:cNvPr>
            <p:cNvCxnSpPr/>
            <p:nvPr/>
          </p:nvCxnSpPr>
          <p:spPr>
            <a:xfrm>
              <a:off x="203200" y="9906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58" name="Straight Connector 357">
              <a:extLst>
                <a:ext uri="{FF2B5EF4-FFF2-40B4-BE49-F238E27FC236}">
                  <a16:creationId xmlns:a16="http://schemas.microsoft.com/office/drawing/2014/main" id="{41439CB3-66B0-E8F9-2591-4F7439CF740A}"/>
                </a:ext>
              </a:extLst>
            </p:cNvPr>
            <p:cNvCxnSpPr/>
            <p:nvPr/>
          </p:nvCxnSpPr>
          <p:spPr>
            <a:xfrm>
              <a:off x="203200" y="11938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59" name="Straight Connector 358">
              <a:extLst>
                <a:ext uri="{FF2B5EF4-FFF2-40B4-BE49-F238E27FC236}">
                  <a16:creationId xmlns:a16="http://schemas.microsoft.com/office/drawing/2014/main" id="{1DF61535-212C-C58C-8B29-40971B689923}"/>
                </a:ext>
              </a:extLst>
            </p:cNvPr>
            <p:cNvCxnSpPr/>
            <p:nvPr/>
          </p:nvCxnSpPr>
          <p:spPr>
            <a:xfrm>
              <a:off x="203200" y="13970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60" name="Straight Connector 359">
              <a:extLst>
                <a:ext uri="{FF2B5EF4-FFF2-40B4-BE49-F238E27FC236}">
                  <a16:creationId xmlns:a16="http://schemas.microsoft.com/office/drawing/2014/main" id="{EF6A89FF-8A54-3A74-8A1B-B23FB10155FB}"/>
                </a:ext>
              </a:extLst>
            </p:cNvPr>
            <p:cNvCxnSpPr/>
            <p:nvPr/>
          </p:nvCxnSpPr>
          <p:spPr>
            <a:xfrm>
              <a:off x="203200" y="16002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62" name="Straight Connector 361">
              <a:extLst>
                <a:ext uri="{FF2B5EF4-FFF2-40B4-BE49-F238E27FC236}">
                  <a16:creationId xmlns:a16="http://schemas.microsoft.com/office/drawing/2014/main" id="{27BBE4AB-FAD5-25D7-6297-9CF0776FBD98}"/>
                </a:ext>
              </a:extLst>
            </p:cNvPr>
            <p:cNvCxnSpPr/>
            <p:nvPr/>
          </p:nvCxnSpPr>
          <p:spPr>
            <a:xfrm>
              <a:off x="203200" y="18034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63" name="Straight Connector 362">
              <a:extLst>
                <a:ext uri="{FF2B5EF4-FFF2-40B4-BE49-F238E27FC236}">
                  <a16:creationId xmlns:a16="http://schemas.microsoft.com/office/drawing/2014/main" id="{792D44F9-651A-7FA3-BDA6-E43F0D8A9471}"/>
                </a:ext>
              </a:extLst>
            </p:cNvPr>
            <p:cNvCxnSpPr/>
            <p:nvPr/>
          </p:nvCxnSpPr>
          <p:spPr>
            <a:xfrm>
              <a:off x="203200" y="20066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a16="http://schemas.microsoft.com/office/drawing/2014/main" id="{60BA471E-F499-8522-CD48-AFA1D4E83673}"/>
                </a:ext>
              </a:extLst>
            </p:cNvPr>
            <p:cNvCxnSpPr/>
            <p:nvPr/>
          </p:nvCxnSpPr>
          <p:spPr>
            <a:xfrm>
              <a:off x="203200" y="22098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D789B9C6-F8F0-DEFD-64EB-74D0D6BAF9E6}"/>
                </a:ext>
              </a:extLst>
            </p:cNvPr>
            <p:cNvCxnSpPr/>
            <p:nvPr/>
          </p:nvCxnSpPr>
          <p:spPr>
            <a:xfrm>
              <a:off x="203200" y="24130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67" name="Straight Connector 366">
              <a:extLst>
                <a:ext uri="{FF2B5EF4-FFF2-40B4-BE49-F238E27FC236}">
                  <a16:creationId xmlns:a16="http://schemas.microsoft.com/office/drawing/2014/main" id="{9325D9C7-1B5D-D0E6-DF87-C4C8303C6328}"/>
                </a:ext>
              </a:extLst>
            </p:cNvPr>
            <p:cNvCxnSpPr/>
            <p:nvPr/>
          </p:nvCxnSpPr>
          <p:spPr>
            <a:xfrm>
              <a:off x="203200" y="26162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68" name="Straight Connector 367">
              <a:extLst>
                <a:ext uri="{FF2B5EF4-FFF2-40B4-BE49-F238E27FC236}">
                  <a16:creationId xmlns:a16="http://schemas.microsoft.com/office/drawing/2014/main" id="{6F084FA9-52CB-AD53-5B86-1F0C239A027A}"/>
                </a:ext>
              </a:extLst>
            </p:cNvPr>
            <p:cNvCxnSpPr/>
            <p:nvPr/>
          </p:nvCxnSpPr>
          <p:spPr>
            <a:xfrm>
              <a:off x="203200" y="28194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69" name="Straight Connector 368">
              <a:extLst>
                <a:ext uri="{FF2B5EF4-FFF2-40B4-BE49-F238E27FC236}">
                  <a16:creationId xmlns:a16="http://schemas.microsoft.com/office/drawing/2014/main" id="{78F30CD4-E679-DC02-8845-4673D27994CC}"/>
                </a:ext>
              </a:extLst>
            </p:cNvPr>
            <p:cNvCxnSpPr/>
            <p:nvPr/>
          </p:nvCxnSpPr>
          <p:spPr>
            <a:xfrm>
              <a:off x="203200" y="30226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70" name="Straight Connector 369">
              <a:extLst>
                <a:ext uri="{FF2B5EF4-FFF2-40B4-BE49-F238E27FC236}">
                  <a16:creationId xmlns:a16="http://schemas.microsoft.com/office/drawing/2014/main" id="{2822B735-342B-6378-47A1-E6BF0984D43E}"/>
                </a:ext>
              </a:extLst>
            </p:cNvPr>
            <p:cNvCxnSpPr/>
            <p:nvPr/>
          </p:nvCxnSpPr>
          <p:spPr>
            <a:xfrm>
              <a:off x="203200" y="32258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047EFC56-4DF0-98C3-DBAE-E795B1347AEB}"/>
                </a:ext>
              </a:extLst>
            </p:cNvPr>
            <p:cNvCxnSpPr/>
            <p:nvPr/>
          </p:nvCxnSpPr>
          <p:spPr>
            <a:xfrm>
              <a:off x="203200" y="34290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73" name="Straight Connector 372">
              <a:extLst>
                <a:ext uri="{FF2B5EF4-FFF2-40B4-BE49-F238E27FC236}">
                  <a16:creationId xmlns:a16="http://schemas.microsoft.com/office/drawing/2014/main" id="{22DA30F6-A256-98B0-1B9C-CF0C6DC2BFBA}"/>
                </a:ext>
              </a:extLst>
            </p:cNvPr>
            <p:cNvCxnSpPr/>
            <p:nvPr/>
          </p:nvCxnSpPr>
          <p:spPr>
            <a:xfrm>
              <a:off x="203200" y="36322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769C8018-70D7-6528-AD45-C9684836981D}"/>
                </a:ext>
              </a:extLst>
            </p:cNvPr>
            <p:cNvCxnSpPr/>
            <p:nvPr/>
          </p:nvCxnSpPr>
          <p:spPr>
            <a:xfrm>
              <a:off x="203200" y="38354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22B97A86-4C6E-D712-EA4E-0C883F81556E}"/>
                </a:ext>
              </a:extLst>
            </p:cNvPr>
            <p:cNvCxnSpPr/>
            <p:nvPr/>
          </p:nvCxnSpPr>
          <p:spPr>
            <a:xfrm>
              <a:off x="203200" y="40386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9AB33D42-8F07-D766-B1B1-ED59E94B8B39}"/>
                </a:ext>
              </a:extLst>
            </p:cNvPr>
            <p:cNvCxnSpPr/>
            <p:nvPr/>
          </p:nvCxnSpPr>
          <p:spPr>
            <a:xfrm>
              <a:off x="203200" y="42418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33B8ADB1-5989-ECCE-B214-C609E488B875}"/>
                </a:ext>
              </a:extLst>
            </p:cNvPr>
            <p:cNvCxnSpPr/>
            <p:nvPr/>
          </p:nvCxnSpPr>
          <p:spPr>
            <a:xfrm>
              <a:off x="203200" y="44450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73647A78-2465-BE80-4CB2-11438AD4FED6}"/>
                </a:ext>
              </a:extLst>
            </p:cNvPr>
            <p:cNvCxnSpPr/>
            <p:nvPr/>
          </p:nvCxnSpPr>
          <p:spPr>
            <a:xfrm>
              <a:off x="203200" y="46482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A2477A41-ADB5-CED9-4A7B-D346C6AD359D}"/>
                </a:ext>
              </a:extLst>
            </p:cNvPr>
            <p:cNvCxnSpPr/>
            <p:nvPr/>
          </p:nvCxnSpPr>
          <p:spPr>
            <a:xfrm>
              <a:off x="203200" y="48514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242F2E7F-9FD7-109D-37C7-F851609A5320}"/>
                </a:ext>
              </a:extLst>
            </p:cNvPr>
            <p:cNvCxnSpPr/>
            <p:nvPr/>
          </p:nvCxnSpPr>
          <p:spPr>
            <a:xfrm>
              <a:off x="203200" y="50546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96" name="Straight Connector 395">
              <a:extLst>
                <a:ext uri="{FF2B5EF4-FFF2-40B4-BE49-F238E27FC236}">
                  <a16:creationId xmlns:a16="http://schemas.microsoft.com/office/drawing/2014/main" id="{3F6DC466-B938-9EDF-E341-74FA121D5179}"/>
                </a:ext>
              </a:extLst>
            </p:cNvPr>
            <p:cNvCxnSpPr/>
            <p:nvPr/>
          </p:nvCxnSpPr>
          <p:spPr>
            <a:xfrm>
              <a:off x="203200" y="52578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97" name="Straight Connector 396">
              <a:extLst>
                <a:ext uri="{FF2B5EF4-FFF2-40B4-BE49-F238E27FC236}">
                  <a16:creationId xmlns:a16="http://schemas.microsoft.com/office/drawing/2014/main" id="{2673C885-1424-6CBF-6BD6-6CAC4F06E93B}"/>
                </a:ext>
              </a:extLst>
            </p:cNvPr>
            <p:cNvCxnSpPr/>
            <p:nvPr/>
          </p:nvCxnSpPr>
          <p:spPr>
            <a:xfrm>
              <a:off x="203200" y="54610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a16="http://schemas.microsoft.com/office/drawing/2014/main" id="{ABBDB58E-425F-B64B-DC02-69BAAD5537FA}"/>
                </a:ext>
              </a:extLst>
            </p:cNvPr>
            <p:cNvCxnSpPr/>
            <p:nvPr/>
          </p:nvCxnSpPr>
          <p:spPr>
            <a:xfrm>
              <a:off x="203200" y="56642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00" name="Straight Connector 399">
              <a:extLst>
                <a:ext uri="{FF2B5EF4-FFF2-40B4-BE49-F238E27FC236}">
                  <a16:creationId xmlns:a16="http://schemas.microsoft.com/office/drawing/2014/main" id="{FBC55815-9925-C582-5129-ADDA959FF884}"/>
                </a:ext>
              </a:extLst>
            </p:cNvPr>
            <p:cNvCxnSpPr/>
            <p:nvPr/>
          </p:nvCxnSpPr>
          <p:spPr>
            <a:xfrm>
              <a:off x="203200" y="58674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15" name="Straight Connector 414">
              <a:extLst>
                <a:ext uri="{FF2B5EF4-FFF2-40B4-BE49-F238E27FC236}">
                  <a16:creationId xmlns:a16="http://schemas.microsoft.com/office/drawing/2014/main" id="{1FFA8E8D-9DDC-4AE6-3E6E-E068D354B41A}"/>
                </a:ext>
              </a:extLst>
            </p:cNvPr>
            <p:cNvCxnSpPr/>
            <p:nvPr/>
          </p:nvCxnSpPr>
          <p:spPr>
            <a:xfrm>
              <a:off x="203200" y="60706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33" name="Straight Connector 432">
              <a:extLst>
                <a:ext uri="{FF2B5EF4-FFF2-40B4-BE49-F238E27FC236}">
                  <a16:creationId xmlns:a16="http://schemas.microsoft.com/office/drawing/2014/main" id="{6C6198D9-BB30-B546-0FD7-708F6CFD4E05}"/>
                </a:ext>
              </a:extLst>
            </p:cNvPr>
            <p:cNvCxnSpPr/>
            <p:nvPr/>
          </p:nvCxnSpPr>
          <p:spPr>
            <a:xfrm>
              <a:off x="203200" y="62738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34" name="Straight Connector 433">
              <a:extLst>
                <a:ext uri="{FF2B5EF4-FFF2-40B4-BE49-F238E27FC236}">
                  <a16:creationId xmlns:a16="http://schemas.microsoft.com/office/drawing/2014/main" id="{83AC2CC8-37DD-6D32-0FC0-7E8185FF308E}"/>
                </a:ext>
              </a:extLst>
            </p:cNvPr>
            <p:cNvCxnSpPr/>
            <p:nvPr/>
          </p:nvCxnSpPr>
          <p:spPr>
            <a:xfrm>
              <a:off x="203200" y="63246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35" name="Straight Connector 434">
              <a:extLst>
                <a:ext uri="{FF2B5EF4-FFF2-40B4-BE49-F238E27FC236}">
                  <a16:creationId xmlns:a16="http://schemas.microsoft.com/office/drawing/2014/main" id="{C76C1BBB-1155-6BCB-A830-6FC97BF80614}"/>
                </a:ext>
              </a:extLst>
            </p:cNvPr>
            <p:cNvCxnSpPr/>
            <p:nvPr/>
          </p:nvCxnSpPr>
          <p:spPr>
            <a:xfrm>
              <a:off x="203200" y="65278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36" name="Straight Connector 435">
              <a:extLst>
                <a:ext uri="{FF2B5EF4-FFF2-40B4-BE49-F238E27FC236}">
                  <a16:creationId xmlns:a16="http://schemas.microsoft.com/office/drawing/2014/main" id="{D7FF3F20-114F-31D4-0B8D-6A8C8084C69B}"/>
                </a:ext>
              </a:extLst>
            </p:cNvPr>
            <p:cNvCxnSpPr/>
            <p:nvPr/>
          </p:nvCxnSpPr>
          <p:spPr>
            <a:xfrm>
              <a:off x="203200" y="65786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37" name="Straight Connector 436">
              <a:extLst>
                <a:ext uri="{FF2B5EF4-FFF2-40B4-BE49-F238E27FC236}">
                  <a16:creationId xmlns:a16="http://schemas.microsoft.com/office/drawing/2014/main" id="{3C119390-FC50-2B5E-E8CC-904165BC0158}"/>
                </a:ext>
              </a:extLst>
            </p:cNvPr>
            <p:cNvCxnSpPr/>
            <p:nvPr/>
          </p:nvCxnSpPr>
          <p:spPr>
            <a:xfrm>
              <a:off x="203200" y="6781800"/>
              <a:ext cx="11785600" cy="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38" name="Straight Connector 437">
              <a:extLst>
                <a:ext uri="{FF2B5EF4-FFF2-40B4-BE49-F238E27FC236}">
                  <a16:creationId xmlns:a16="http://schemas.microsoft.com/office/drawing/2014/main" id="{F1FD15E1-63FC-CDC5-3B2D-4779E73850D6}"/>
                </a:ext>
              </a:extLst>
            </p:cNvPr>
            <p:cNvCxnSpPr/>
            <p:nvPr/>
          </p:nvCxnSpPr>
          <p:spPr>
            <a:xfrm flipH="1">
              <a:off x="2032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44" name="Straight Connector 443">
              <a:extLst>
                <a:ext uri="{FF2B5EF4-FFF2-40B4-BE49-F238E27FC236}">
                  <a16:creationId xmlns:a16="http://schemas.microsoft.com/office/drawing/2014/main" id="{6D4C5821-B091-7194-C6C7-7C279C06B58A}"/>
                </a:ext>
              </a:extLst>
            </p:cNvPr>
            <p:cNvCxnSpPr/>
            <p:nvPr/>
          </p:nvCxnSpPr>
          <p:spPr>
            <a:xfrm flipH="1">
              <a:off x="4064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80" name="Straight Connector 479">
              <a:extLst>
                <a:ext uri="{FF2B5EF4-FFF2-40B4-BE49-F238E27FC236}">
                  <a16:creationId xmlns:a16="http://schemas.microsoft.com/office/drawing/2014/main" id="{FBE23AC3-99BE-3FF2-67F3-681E6E54976F}"/>
                </a:ext>
              </a:extLst>
            </p:cNvPr>
            <p:cNvCxnSpPr/>
            <p:nvPr/>
          </p:nvCxnSpPr>
          <p:spPr>
            <a:xfrm flipH="1">
              <a:off x="6096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81" name="Straight Connector 480">
              <a:extLst>
                <a:ext uri="{FF2B5EF4-FFF2-40B4-BE49-F238E27FC236}">
                  <a16:creationId xmlns:a16="http://schemas.microsoft.com/office/drawing/2014/main" id="{B92814F5-800B-7D26-DC1A-128AB3465438}"/>
                </a:ext>
              </a:extLst>
            </p:cNvPr>
            <p:cNvCxnSpPr/>
            <p:nvPr/>
          </p:nvCxnSpPr>
          <p:spPr>
            <a:xfrm flipH="1">
              <a:off x="8128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82" name="Straight Connector 481">
              <a:extLst>
                <a:ext uri="{FF2B5EF4-FFF2-40B4-BE49-F238E27FC236}">
                  <a16:creationId xmlns:a16="http://schemas.microsoft.com/office/drawing/2014/main" id="{3094ABCC-D198-1C19-F99C-A49242D8E61D}"/>
                </a:ext>
              </a:extLst>
            </p:cNvPr>
            <p:cNvCxnSpPr/>
            <p:nvPr/>
          </p:nvCxnSpPr>
          <p:spPr>
            <a:xfrm flipH="1">
              <a:off x="10160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83" name="Straight Connector 482">
              <a:extLst>
                <a:ext uri="{FF2B5EF4-FFF2-40B4-BE49-F238E27FC236}">
                  <a16:creationId xmlns:a16="http://schemas.microsoft.com/office/drawing/2014/main" id="{4594A92A-CFD7-9B15-3E05-F6D3FC1329D2}"/>
                </a:ext>
              </a:extLst>
            </p:cNvPr>
            <p:cNvCxnSpPr/>
            <p:nvPr/>
          </p:nvCxnSpPr>
          <p:spPr>
            <a:xfrm flipH="1">
              <a:off x="12192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84" name="Straight Connector 483">
              <a:extLst>
                <a:ext uri="{FF2B5EF4-FFF2-40B4-BE49-F238E27FC236}">
                  <a16:creationId xmlns:a16="http://schemas.microsoft.com/office/drawing/2014/main" id="{699B5588-6A21-A6DC-5265-2F6A694EA99E}"/>
                </a:ext>
              </a:extLst>
            </p:cNvPr>
            <p:cNvCxnSpPr/>
            <p:nvPr/>
          </p:nvCxnSpPr>
          <p:spPr>
            <a:xfrm flipH="1">
              <a:off x="14224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85" name="Straight Connector 484">
              <a:extLst>
                <a:ext uri="{FF2B5EF4-FFF2-40B4-BE49-F238E27FC236}">
                  <a16:creationId xmlns:a16="http://schemas.microsoft.com/office/drawing/2014/main" id="{15C6FF81-886C-85A3-74F3-FEA2D65411D9}"/>
                </a:ext>
              </a:extLst>
            </p:cNvPr>
            <p:cNvCxnSpPr/>
            <p:nvPr/>
          </p:nvCxnSpPr>
          <p:spPr>
            <a:xfrm flipH="1">
              <a:off x="16256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86" name="Straight Connector 485">
              <a:extLst>
                <a:ext uri="{FF2B5EF4-FFF2-40B4-BE49-F238E27FC236}">
                  <a16:creationId xmlns:a16="http://schemas.microsoft.com/office/drawing/2014/main" id="{14435E9C-200D-C9D5-1C3E-84D7842FD739}"/>
                </a:ext>
              </a:extLst>
            </p:cNvPr>
            <p:cNvCxnSpPr/>
            <p:nvPr/>
          </p:nvCxnSpPr>
          <p:spPr>
            <a:xfrm flipH="1">
              <a:off x="18288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87" name="Straight Connector 486">
              <a:extLst>
                <a:ext uri="{FF2B5EF4-FFF2-40B4-BE49-F238E27FC236}">
                  <a16:creationId xmlns:a16="http://schemas.microsoft.com/office/drawing/2014/main" id="{08C70336-CFF1-73E3-CC20-FF0B5F4F1B08}"/>
                </a:ext>
              </a:extLst>
            </p:cNvPr>
            <p:cNvCxnSpPr/>
            <p:nvPr/>
          </p:nvCxnSpPr>
          <p:spPr>
            <a:xfrm flipH="1">
              <a:off x="20320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88" name="Straight Connector 487">
              <a:extLst>
                <a:ext uri="{FF2B5EF4-FFF2-40B4-BE49-F238E27FC236}">
                  <a16:creationId xmlns:a16="http://schemas.microsoft.com/office/drawing/2014/main" id="{990A9784-2128-3739-6828-0464B87B24B5}"/>
                </a:ext>
              </a:extLst>
            </p:cNvPr>
            <p:cNvCxnSpPr/>
            <p:nvPr/>
          </p:nvCxnSpPr>
          <p:spPr>
            <a:xfrm flipH="1">
              <a:off x="22352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89" name="Straight Connector 488">
              <a:extLst>
                <a:ext uri="{FF2B5EF4-FFF2-40B4-BE49-F238E27FC236}">
                  <a16:creationId xmlns:a16="http://schemas.microsoft.com/office/drawing/2014/main" id="{7F6BBCAE-59FA-C39F-D856-F6C1B99357BD}"/>
                </a:ext>
              </a:extLst>
            </p:cNvPr>
            <p:cNvCxnSpPr/>
            <p:nvPr/>
          </p:nvCxnSpPr>
          <p:spPr>
            <a:xfrm flipH="1">
              <a:off x="24384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90" name="Straight Connector 489">
              <a:extLst>
                <a:ext uri="{FF2B5EF4-FFF2-40B4-BE49-F238E27FC236}">
                  <a16:creationId xmlns:a16="http://schemas.microsoft.com/office/drawing/2014/main" id="{C7AE90AF-F2B3-2D98-9573-69E42B4F1180}"/>
                </a:ext>
              </a:extLst>
            </p:cNvPr>
            <p:cNvCxnSpPr/>
            <p:nvPr/>
          </p:nvCxnSpPr>
          <p:spPr>
            <a:xfrm flipH="1">
              <a:off x="26416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91" name="Straight Connector 490">
              <a:extLst>
                <a:ext uri="{FF2B5EF4-FFF2-40B4-BE49-F238E27FC236}">
                  <a16:creationId xmlns:a16="http://schemas.microsoft.com/office/drawing/2014/main" id="{DD87DF0D-4B14-EAC2-7B33-EE2A7BBD2540}"/>
                </a:ext>
              </a:extLst>
            </p:cNvPr>
            <p:cNvCxnSpPr/>
            <p:nvPr/>
          </p:nvCxnSpPr>
          <p:spPr>
            <a:xfrm flipH="1">
              <a:off x="28448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92" name="Straight Connector 491">
              <a:extLst>
                <a:ext uri="{FF2B5EF4-FFF2-40B4-BE49-F238E27FC236}">
                  <a16:creationId xmlns:a16="http://schemas.microsoft.com/office/drawing/2014/main" id="{1C50DBD5-B054-E2EF-8BD4-151AB42071B8}"/>
                </a:ext>
              </a:extLst>
            </p:cNvPr>
            <p:cNvCxnSpPr/>
            <p:nvPr/>
          </p:nvCxnSpPr>
          <p:spPr>
            <a:xfrm flipH="1">
              <a:off x="30480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93" name="Straight Connector 492">
              <a:extLst>
                <a:ext uri="{FF2B5EF4-FFF2-40B4-BE49-F238E27FC236}">
                  <a16:creationId xmlns:a16="http://schemas.microsoft.com/office/drawing/2014/main" id="{4E2CDB4B-50EF-38DF-F894-51B55B068145}"/>
                </a:ext>
              </a:extLst>
            </p:cNvPr>
            <p:cNvCxnSpPr/>
            <p:nvPr/>
          </p:nvCxnSpPr>
          <p:spPr>
            <a:xfrm flipH="1">
              <a:off x="32512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94" name="Straight Connector 493">
              <a:extLst>
                <a:ext uri="{FF2B5EF4-FFF2-40B4-BE49-F238E27FC236}">
                  <a16:creationId xmlns:a16="http://schemas.microsoft.com/office/drawing/2014/main" id="{C2B26D99-A049-647A-1B17-8A034D6FE107}"/>
                </a:ext>
              </a:extLst>
            </p:cNvPr>
            <p:cNvCxnSpPr/>
            <p:nvPr/>
          </p:nvCxnSpPr>
          <p:spPr>
            <a:xfrm flipH="1">
              <a:off x="34544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95" name="Straight Connector 494">
              <a:extLst>
                <a:ext uri="{FF2B5EF4-FFF2-40B4-BE49-F238E27FC236}">
                  <a16:creationId xmlns:a16="http://schemas.microsoft.com/office/drawing/2014/main" id="{0ADE33D8-68EC-0B06-EF7C-DDDEBFFCF026}"/>
                </a:ext>
              </a:extLst>
            </p:cNvPr>
            <p:cNvCxnSpPr/>
            <p:nvPr/>
          </p:nvCxnSpPr>
          <p:spPr>
            <a:xfrm flipH="1">
              <a:off x="36576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96" name="Straight Connector 495">
              <a:extLst>
                <a:ext uri="{FF2B5EF4-FFF2-40B4-BE49-F238E27FC236}">
                  <a16:creationId xmlns:a16="http://schemas.microsoft.com/office/drawing/2014/main" id="{8C975F1D-58DB-1F73-820F-063341C8B3A4}"/>
                </a:ext>
              </a:extLst>
            </p:cNvPr>
            <p:cNvCxnSpPr/>
            <p:nvPr/>
          </p:nvCxnSpPr>
          <p:spPr>
            <a:xfrm flipH="1">
              <a:off x="38608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97" name="Straight Connector 496">
              <a:extLst>
                <a:ext uri="{FF2B5EF4-FFF2-40B4-BE49-F238E27FC236}">
                  <a16:creationId xmlns:a16="http://schemas.microsoft.com/office/drawing/2014/main" id="{A1720D14-CD68-4EF7-8D92-430AFCF6E707}"/>
                </a:ext>
              </a:extLst>
            </p:cNvPr>
            <p:cNvCxnSpPr/>
            <p:nvPr/>
          </p:nvCxnSpPr>
          <p:spPr>
            <a:xfrm flipH="1">
              <a:off x="40640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98" name="Straight Connector 497">
              <a:extLst>
                <a:ext uri="{FF2B5EF4-FFF2-40B4-BE49-F238E27FC236}">
                  <a16:creationId xmlns:a16="http://schemas.microsoft.com/office/drawing/2014/main" id="{B3377738-122A-6110-7977-82DEC19ECB3F}"/>
                </a:ext>
              </a:extLst>
            </p:cNvPr>
            <p:cNvCxnSpPr/>
            <p:nvPr/>
          </p:nvCxnSpPr>
          <p:spPr>
            <a:xfrm flipH="1">
              <a:off x="42672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499" name="Straight Connector 498">
              <a:extLst>
                <a:ext uri="{FF2B5EF4-FFF2-40B4-BE49-F238E27FC236}">
                  <a16:creationId xmlns:a16="http://schemas.microsoft.com/office/drawing/2014/main" id="{F8B67FA9-22C4-3435-7DBA-841F642507D1}"/>
                </a:ext>
              </a:extLst>
            </p:cNvPr>
            <p:cNvCxnSpPr/>
            <p:nvPr/>
          </p:nvCxnSpPr>
          <p:spPr>
            <a:xfrm flipH="1">
              <a:off x="44704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00" name="Straight Connector 499">
              <a:extLst>
                <a:ext uri="{FF2B5EF4-FFF2-40B4-BE49-F238E27FC236}">
                  <a16:creationId xmlns:a16="http://schemas.microsoft.com/office/drawing/2014/main" id="{AA91DADF-F35A-8A55-9981-16E8F7F5B810}"/>
                </a:ext>
              </a:extLst>
            </p:cNvPr>
            <p:cNvCxnSpPr/>
            <p:nvPr/>
          </p:nvCxnSpPr>
          <p:spPr>
            <a:xfrm flipH="1">
              <a:off x="46736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01" name="Straight Connector 500">
              <a:extLst>
                <a:ext uri="{FF2B5EF4-FFF2-40B4-BE49-F238E27FC236}">
                  <a16:creationId xmlns:a16="http://schemas.microsoft.com/office/drawing/2014/main" id="{143CF3EC-1756-8096-44F1-4764812323DA}"/>
                </a:ext>
              </a:extLst>
            </p:cNvPr>
            <p:cNvCxnSpPr/>
            <p:nvPr/>
          </p:nvCxnSpPr>
          <p:spPr>
            <a:xfrm flipH="1">
              <a:off x="48768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02" name="Straight Connector 501">
              <a:extLst>
                <a:ext uri="{FF2B5EF4-FFF2-40B4-BE49-F238E27FC236}">
                  <a16:creationId xmlns:a16="http://schemas.microsoft.com/office/drawing/2014/main" id="{759E4C6F-BE3A-7877-DAD8-5A486EFDE192}"/>
                </a:ext>
              </a:extLst>
            </p:cNvPr>
            <p:cNvCxnSpPr/>
            <p:nvPr/>
          </p:nvCxnSpPr>
          <p:spPr>
            <a:xfrm flipH="1">
              <a:off x="50800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03" name="Straight Connector 502">
              <a:extLst>
                <a:ext uri="{FF2B5EF4-FFF2-40B4-BE49-F238E27FC236}">
                  <a16:creationId xmlns:a16="http://schemas.microsoft.com/office/drawing/2014/main" id="{9AF57447-A323-C2EB-F5B2-D550B7A461A7}"/>
                </a:ext>
              </a:extLst>
            </p:cNvPr>
            <p:cNvCxnSpPr/>
            <p:nvPr/>
          </p:nvCxnSpPr>
          <p:spPr>
            <a:xfrm flipH="1">
              <a:off x="52832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04" name="Straight Connector 503">
              <a:extLst>
                <a:ext uri="{FF2B5EF4-FFF2-40B4-BE49-F238E27FC236}">
                  <a16:creationId xmlns:a16="http://schemas.microsoft.com/office/drawing/2014/main" id="{0E5BD1EB-7705-B5A1-1493-C52EA398107A}"/>
                </a:ext>
              </a:extLst>
            </p:cNvPr>
            <p:cNvCxnSpPr/>
            <p:nvPr/>
          </p:nvCxnSpPr>
          <p:spPr>
            <a:xfrm flipH="1">
              <a:off x="54864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05" name="Straight Connector 504">
              <a:extLst>
                <a:ext uri="{FF2B5EF4-FFF2-40B4-BE49-F238E27FC236}">
                  <a16:creationId xmlns:a16="http://schemas.microsoft.com/office/drawing/2014/main" id="{A8AA8222-A9C9-71B0-8874-95D6EDADCD98}"/>
                </a:ext>
              </a:extLst>
            </p:cNvPr>
            <p:cNvCxnSpPr/>
            <p:nvPr/>
          </p:nvCxnSpPr>
          <p:spPr>
            <a:xfrm flipH="1">
              <a:off x="56896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06" name="Straight Connector 505">
              <a:extLst>
                <a:ext uri="{FF2B5EF4-FFF2-40B4-BE49-F238E27FC236}">
                  <a16:creationId xmlns:a16="http://schemas.microsoft.com/office/drawing/2014/main" id="{073D880D-CD09-CBB4-16BA-2A8E87CD9D84}"/>
                </a:ext>
              </a:extLst>
            </p:cNvPr>
            <p:cNvCxnSpPr/>
            <p:nvPr/>
          </p:nvCxnSpPr>
          <p:spPr>
            <a:xfrm flipH="1">
              <a:off x="58928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07" name="Straight Connector 506">
              <a:extLst>
                <a:ext uri="{FF2B5EF4-FFF2-40B4-BE49-F238E27FC236}">
                  <a16:creationId xmlns:a16="http://schemas.microsoft.com/office/drawing/2014/main" id="{812866F3-44A8-3CEA-28D9-7AF496C04A2A}"/>
                </a:ext>
              </a:extLst>
            </p:cNvPr>
            <p:cNvCxnSpPr/>
            <p:nvPr/>
          </p:nvCxnSpPr>
          <p:spPr>
            <a:xfrm flipH="1">
              <a:off x="60960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08" name="Straight Connector 507">
              <a:extLst>
                <a:ext uri="{FF2B5EF4-FFF2-40B4-BE49-F238E27FC236}">
                  <a16:creationId xmlns:a16="http://schemas.microsoft.com/office/drawing/2014/main" id="{F419295E-CDDB-9E97-8F28-F903EFD03208}"/>
                </a:ext>
              </a:extLst>
            </p:cNvPr>
            <p:cNvCxnSpPr/>
            <p:nvPr/>
          </p:nvCxnSpPr>
          <p:spPr>
            <a:xfrm flipH="1">
              <a:off x="62992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09" name="Straight Connector 508">
              <a:extLst>
                <a:ext uri="{FF2B5EF4-FFF2-40B4-BE49-F238E27FC236}">
                  <a16:creationId xmlns:a16="http://schemas.microsoft.com/office/drawing/2014/main" id="{54B7287C-0431-4B10-1E6B-22F8C128B338}"/>
                </a:ext>
              </a:extLst>
            </p:cNvPr>
            <p:cNvCxnSpPr/>
            <p:nvPr/>
          </p:nvCxnSpPr>
          <p:spPr>
            <a:xfrm flipH="1">
              <a:off x="65024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10" name="Straight Connector 509">
              <a:extLst>
                <a:ext uri="{FF2B5EF4-FFF2-40B4-BE49-F238E27FC236}">
                  <a16:creationId xmlns:a16="http://schemas.microsoft.com/office/drawing/2014/main" id="{3FE9B0CE-F112-12DC-9291-B7C599F9031F}"/>
                </a:ext>
              </a:extLst>
            </p:cNvPr>
            <p:cNvCxnSpPr/>
            <p:nvPr/>
          </p:nvCxnSpPr>
          <p:spPr>
            <a:xfrm flipH="1">
              <a:off x="67056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11" name="Straight Connector 510">
              <a:extLst>
                <a:ext uri="{FF2B5EF4-FFF2-40B4-BE49-F238E27FC236}">
                  <a16:creationId xmlns:a16="http://schemas.microsoft.com/office/drawing/2014/main" id="{AC7A6729-E1FF-ADA9-5404-512BB851730C}"/>
                </a:ext>
              </a:extLst>
            </p:cNvPr>
            <p:cNvCxnSpPr/>
            <p:nvPr/>
          </p:nvCxnSpPr>
          <p:spPr>
            <a:xfrm flipH="1">
              <a:off x="69088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12" name="Straight Connector 511">
              <a:extLst>
                <a:ext uri="{FF2B5EF4-FFF2-40B4-BE49-F238E27FC236}">
                  <a16:creationId xmlns:a16="http://schemas.microsoft.com/office/drawing/2014/main" id="{2E124A38-8DB4-882E-F91D-8E5F0F19E790}"/>
                </a:ext>
              </a:extLst>
            </p:cNvPr>
            <p:cNvCxnSpPr/>
            <p:nvPr/>
          </p:nvCxnSpPr>
          <p:spPr>
            <a:xfrm flipH="1">
              <a:off x="71120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13" name="Straight Connector 512">
              <a:extLst>
                <a:ext uri="{FF2B5EF4-FFF2-40B4-BE49-F238E27FC236}">
                  <a16:creationId xmlns:a16="http://schemas.microsoft.com/office/drawing/2014/main" id="{387D883A-C569-9048-1102-2A4481F19B37}"/>
                </a:ext>
              </a:extLst>
            </p:cNvPr>
            <p:cNvCxnSpPr/>
            <p:nvPr/>
          </p:nvCxnSpPr>
          <p:spPr>
            <a:xfrm flipH="1">
              <a:off x="73152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14" name="Straight Connector 513">
              <a:extLst>
                <a:ext uri="{FF2B5EF4-FFF2-40B4-BE49-F238E27FC236}">
                  <a16:creationId xmlns:a16="http://schemas.microsoft.com/office/drawing/2014/main" id="{64162DA4-1950-A179-F2ED-B50E9BA48A08}"/>
                </a:ext>
              </a:extLst>
            </p:cNvPr>
            <p:cNvCxnSpPr/>
            <p:nvPr/>
          </p:nvCxnSpPr>
          <p:spPr>
            <a:xfrm flipH="1">
              <a:off x="75184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15" name="Straight Connector 514">
              <a:extLst>
                <a:ext uri="{FF2B5EF4-FFF2-40B4-BE49-F238E27FC236}">
                  <a16:creationId xmlns:a16="http://schemas.microsoft.com/office/drawing/2014/main" id="{7C8E0EA5-3EEA-1117-A686-2B01DA6D3C17}"/>
                </a:ext>
              </a:extLst>
            </p:cNvPr>
            <p:cNvCxnSpPr/>
            <p:nvPr/>
          </p:nvCxnSpPr>
          <p:spPr>
            <a:xfrm flipH="1">
              <a:off x="77216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16" name="Straight Connector 515">
              <a:extLst>
                <a:ext uri="{FF2B5EF4-FFF2-40B4-BE49-F238E27FC236}">
                  <a16:creationId xmlns:a16="http://schemas.microsoft.com/office/drawing/2014/main" id="{57F3E21D-0683-5C73-B975-533264440FC3}"/>
                </a:ext>
              </a:extLst>
            </p:cNvPr>
            <p:cNvCxnSpPr/>
            <p:nvPr/>
          </p:nvCxnSpPr>
          <p:spPr>
            <a:xfrm flipH="1">
              <a:off x="79248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17" name="Straight Connector 516">
              <a:extLst>
                <a:ext uri="{FF2B5EF4-FFF2-40B4-BE49-F238E27FC236}">
                  <a16:creationId xmlns:a16="http://schemas.microsoft.com/office/drawing/2014/main" id="{92F73360-9F43-3272-F218-F6DD824E0191}"/>
                </a:ext>
              </a:extLst>
            </p:cNvPr>
            <p:cNvCxnSpPr/>
            <p:nvPr/>
          </p:nvCxnSpPr>
          <p:spPr>
            <a:xfrm flipH="1">
              <a:off x="81280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18" name="Straight Connector 517">
              <a:extLst>
                <a:ext uri="{FF2B5EF4-FFF2-40B4-BE49-F238E27FC236}">
                  <a16:creationId xmlns:a16="http://schemas.microsoft.com/office/drawing/2014/main" id="{0815A90B-9FFC-73FD-6C29-20CCE6A75CCC}"/>
                </a:ext>
              </a:extLst>
            </p:cNvPr>
            <p:cNvCxnSpPr/>
            <p:nvPr/>
          </p:nvCxnSpPr>
          <p:spPr>
            <a:xfrm flipH="1">
              <a:off x="83312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19" name="Straight Connector 518">
              <a:extLst>
                <a:ext uri="{FF2B5EF4-FFF2-40B4-BE49-F238E27FC236}">
                  <a16:creationId xmlns:a16="http://schemas.microsoft.com/office/drawing/2014/main" id="{B9889978-8E24-F29B-3969-0C902E4E8981}"/>
                </a:ext>
              </a:extLst>
            </p:cNvPr>
            <p:cNvCxnSpPr/>
            <p:nvPr/>
          </p:nvCxnSpPr>
          <p:spPr>
            <a:xfrm flipH="1">
              <a:off x="85344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20" name="Straight Connector 519">
              <a:extLst>
                <a:ext uri="{FF2B5EF4-FFF2-40B4-BE49-F238E27FC236}">
                  <a16:creationId xmlns:a16="http://schemas.microsoft.com/office/drawing/2014/main" id="{2ACD9AF2-6775-D81E-67C6-3FAE3A84D2F0}"/>
                </a:ext>
              </a:extLst>
            </p:cNvPr>
            <p:cNvCxnSpPr/>
            <p:nvPr/>
          </p:nvCxnSpPr>
          <p:spPr>
            <a:xfrm flipH="1">
              <a:off x="87376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21" name="Straight Connector 520">
              <a:extLst>
                <a:ext uri="{FF2B5EF4-FFF2-40B4-BE49-F238E27FC236}">
                  <a16:creationId xmlns:a16="http://schemas.microsoft.com/office/drawing/2014/main" id="{A24E4C60-5323-F4AE-D168-9648B906A0FE}"/>
                </a:ext>
              </a:extLst>
            </p:cNvPr>
            <p:cNvCxnSpPr/>
            <p:nvPr/>
          </p:nvCxnSpPr>
          <p:spPr>
            <a:xfrm flipH="1">
              <a:off x="89408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22" name="Straight Connector 521">
              <a:extLst>
                <a:ext uri="{FF2B5EF4-FFF2-40B4-BE49-F238E27FC236}">
                  <a16:creationId xmlns:a16="http://schemas.microsoft.com/office/drawing/2014/main" id="{E50AB0FC-534C-D3DB-E0BD-D115C26EAEF6}"/>
                </a:ext>
              </a:extLst>
            </p:cNvPr>
            <p:cNvCxnSpPr/>
            <p:nvPr/>
          </p:nvCxnSpPr>
          <p:spPr>
            <a:xfrm flipH="1">
              <a:off x="91440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23" name="Straight Connector 522">
              <a:extLst>
                <a:ext uri="{FF2B5EF4-FFF2-40B4-BE49-F238E27FC236}">
                  <a16:creationId xmlns:a16="http://schemas.microsoft.com/office/drawing/2014/main" id="{F52C71A5-BAD9-6299-F2CC-A3092D8AF72C}"/>
                </a:ext>
              </a:extLst>
            </p:cNvPr>
            <p:cNvCxnSpPr/>
            <p:nvPr/>
          </p:nvCxnSpPr>
          <p:spPr>
            <a:xfrm flipH="1">
              <a:off x="93472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24" name="Straight Connector 523">
              <a:extLst>
                <a:ext uri="{FF2B5EF4-FFF2-40B4-BE49-F238E27FC236}">
                  <a16:creationId xmlns:a16="http://schemas.microsoft.com/office/drawing/2014/main" id="{958DA808-DB1C-A5DF-786E-35DA879E01B2}"/>
                </a:ext>
              </a:extLst>
            </p:cNvPr>
            <p:cNvCxnSpPr/>
            <p:nvPr/>
          </p:nvCxnSpPr>
          <p:spPr>
            <a:xfrm flipH="1">
              <a:off x="95504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25" name="Straight Connector 524">
              <a:extLst>
                <a:ext uri="{FF2B5EF4-FFF2-40B4-BE49-F238E27FC236}">
                  <a16:creationId xmlns:a16="http://schemas.microsoft.com/office/drawing/2014/main" id="{0D2A8C18-9FE8-4DB1-5D24-938D1CBE0532}"/>
                </a:ext>
              </a:extLst>
            </p:cNvPr>
            <p:cNvCxnSpPr/>
            <p:nvPr/>
          </p:nvCxnSpPr>
          <p:spPr>
            <a:xfrm flipH="1">
              <a:off x="97536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26" name="Straight Connector 525">
              <a:extLst>
                <a:ext uri="{FF2B5EF4-FFF2-40B4-BE49-F238E27FC236}">
                  <a16:creationId xmlns:a16="http://schemas.microsoft.com/office/drawing/2014/main" id="{81FE3DA7-A8A6-A2AA-0244-F8D144F2DFE4}"/>
                </a:ext>
              </a:extLst>
            </p:cNvPr>
            <p:cNvCxnSpPr/>
            <p:nvPr/>
          </p:nvCxnSpPr>
          <p:spPr>
            <a:xfrm flipH="1">
              <a:off x="99568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27" name="Straight Connector 526">
              <a:extLst>
                <a:ext uri="{FF2B5EF4-FFF2-40B4-BE49-F238E27FC236}">
                  <a16:creationId xmlns:a16="http://schemas.microsoft.com/office/drawing/2014/main" id="{7A0DDFF9-3FDE-2371-6A58-6817E418C63E}"/>
                </a:ext>
              </a:extLst>
            </p:cNvPr>
            <p:cNvCxnSpPr/>
            <p:nvPr/>
          </p:nvCxnSpPr>
          <p:spPr>
            <a:xfrm flipH="1">
              <a:off x="101600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28" name="Straight Connector 527">
              <a:extLst>
                <a:ext uri="{FF2B5EF4-FFF2-40B4-BE49-F238E27FC236}">
                  <a16:creationId xmlns:a16="http://schemas.microsoft.com/office/drawing/2014/main" id="{1056F508-FEDC-9851-D9E6-680BFAE34424}"/>
                </a:ext>
              </a:extLst>
            </p:cNvPr>
            <p:cNvCxnSpPr/>
            <p:nvPr/>
          </p:nvCxnSpPr>
          <p:spPr>
            <a:xfrm flipH="1">
              <a:off x="103632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29" name="Straight Connector 528">
              <a:extLst>
                <a:ext uri="{FF2B5EF4-FFF2-40B4-BE49-F238E27FC236}">
                  <a16:creationId xmlns:a16="http://schemas.microsoft.com/office/drawing/2014/main" id="{EA7FC7C6-6083-F3E9-DA92-FD5975FDE657}"/>
                </a:ext>
              </a:extLst>
            </p:cNvPr>
            <p:cNvCxnSpPr/>
            <p:nvPr/>
          </p:nvCxnSpPr>
          <p:spPr>
            <a:xfrm flipH="1">
              <a:off x="105664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30" name="Straight Connector 529">
              <a:extLst>
                <a:ext uri="{FF2B5EF4-FFF2-40B4-BE49-F238E27FC236}">
                  <a16:creationId xmlns:a16="http://schemas.microsoft.com/office/drawing/2014/main" id="{0938D311-D0F9-2FE8-416D-8A0E4AEE5202}"/>
                </a:ext>
              </a:extLst>
            </p:cNvPr>
            <p:cNvCxnSpPr/>
            <p:nvPr/>
          </p:nvCxnSpPr>
          <p:spPr>
            <a:xfrm flipH="1">
              <a:off x="107696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31" name="Straight Connector 530">
              <a:extLst>
                <a:ext uri="{FF2B5EF4-FFF2-40B4-BE49-F238E27FC236}">
                  <a16:creationId xmlns:a16="http://schemas.microsoft.com/office/drawing/2014/main" id="{89DC6F78-7566-B6EC-D723-6968A570FA85}"/>
                </a:ext>
              </a:extLst>
            </p:cNvPr>
            <p:cNvCxnSpPr/>
            <p:nvPr/>
          </p:nvCxnSpPr>
          <p:spPr>
            <a:xfrm flipH="1">
              <a:off x="109728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32" name="Straight Connector 531">
              <a:extLst>
                <a:ext uri="{FF2B5EF4-FFF2-40B4-BE49-F238E27FC236}">
                  <a16:creationId xmlns:a16="http://schemas.microsoft.com/office/drawing/2014/main" id="{04F4395C-D536-7412-DA27-27CB4D046A4F}"/>
                </a:ext>
              </a:extLst>
            </p:cNvPr>
            <p:cNvCxnSpPr/>
            <p:nvPr/>
          </p:nvCxnSpPr>
          <p:spPr>
            <a:xfrm flipH="1">
              <a:off x="111760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33" name="Straight Connector 532">
              <a:extLst>
                <a:ext uri="{FF2B5EF4-FFF2-40B4-BE49-F238E27FC236}">
                  <a16:creationId xmlns:a16="http://schemas.microsoft.com/office/drawing/2014/main" id="{A56B4B0D-3455-81B5-8078-7B59160A4A7E}"/>
                </a:ext>
              </a:extLst>
            </p:cNvPr>
            <p:cNvCxnSpPr/>
            <p:nvPr/>
          </p:nvCxnSpPr>
          <p:spPr>
            <a:xfrm flipH="1">
              <a:off x="113792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34" name="Straight Connector 533">
              <a:extLst>
                <a:ext uri="{FF2B5EF4-FFF2-40B4-BE49-F238E27FC236}">
                  <a16:creationId xmlns:a16="http://schemas.microsoft.com/office/drawing/2014/main" id="{71C11C32-989E-46E1-81D3-E3540A5E1417}"/>
                </a:ext>
              </a:extLst>
            </p:cNvPr>
            <p:cNvCxnSpPr/>
            <p:nvPr/>
          </p:nvCxnSpPr>
          <p:spPr>
            <a:xfrm flipH="1">
              <a:off x="115824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35" name="Straight Connector 534">
              <a:extLst>
                <a:ext uri="{FF2B5EF4-FFF2-40B4-BE49-F238E27FC236}">
                  <a16:creationId xmlns:a16="http://schemas.microsoft.com/office/drawing/2014/main" id="{3B7FB739-3C16-D6AE-B634-448D38364454}"/>
                </a:ext>
              </a:extLst>
            </p:cNvPr>
            <p:cNvCxnSpPr/>
            <p:nvPr/>
          </p:nvCxnSpPr>
          <p:spPr>
            <a:xfrm flipH="1">
              <a:off x="117856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cxnSp>
          <p:nvCxnSpPr>
            <p:cNvPr id="536" name="Straight Connector 535">
              <a:extLst>
                <a:ext uri="{FF2B5EF4-FFF2-40B4-BE49-F238E27FC236}">
                  <a16:creationId xmlns:a16="http://schemas.microsoft.com/office/drawing/2014/main" id="{001067A1-DCFF-A844-2E14-B8C932B38B48}"/>
                </a:ext>
              </a:extLst>
            </p:cNvPr>
            <p:cNvCxnSpPr/>
            <p:nvPr/>
          </p:nvCxnSpPr>
          <p:spPr>
            <a:xfrm flipH="1">
              <a:off x="11988800" y="76200"/>
              <a:ext cx="0" cy="6705600"/>
            </a:xfrm>
            <a:prstGeom prst="line">
              <a:avLst/>
            </a:prstGeom>
            <a:ln w="12700">
              <a:solidFill>
                <a:srgbClr val="7B7B7B">
                  <a:alpha val="50196"/>
                </a:srgbClr>
              </a:solidFill>
            </a:ln>
          </p:spPr>
          <p:style>
            <a:lnRef idx="1">
              <a:schemeClr val="accent1"/>
            </a:lnRef>
            <a:fillRef idx="0">
              <a:schemeClr val="accent1"/>
            </a:fillRef>
            <a:effectRef idx="0">
              <a:schemeClr val="accent1"/>
            </a:effectRef>
            <a:fontRef idx="minor">
              <a:schemeClr val="tx1"/>
            </a:fontRef>
          </p:style>
        </p:cxnSp>
      </p:grpSp>
      <p:sp>
        <p:nvSpPr>
          <p:cNvPr id="439" name="Master Title Placeholder">
            <a:extLst>
              <a:ext uri="{FF2B5EF4-FFF2-40B4-BE49-F238E27FC236}">
                <a16:creationId xmlns:a16="http://schemas.microsoft.com/office/drawing/2014/main" id="{C5F0EFB3-EE4E-0B07-F454-E6D44406FC0F}"/>
              </a:ext>
            </a:extLst>
          </p:cNvPr>
          <p:cNvSpPr>
            <a:spLocks noGrp="1"/>
          </p:cNvSpPr>
          <p:nvPr>
            <p:ph type="title"/>
          </p:nvPr>
        </p:nvSpPr>
        <p:spPr>
          <a:xfrm>
            <a:off x="552000" y="332768"/>
            <a:ext cx="11088001" cy="936000"/>
          </a:xfrm>
          <a:prstGeom prst="rect">
            <a:avLst/>
          </a:prstGeom>
        </p:spPr>
        <p:txBody>
          <a:bodyPr vert="horz" lIns="0" tIns="0" rIns="0" bIns="0" rtlCol="0" anchor="t" anchorCtr="0">
            <a:noAutofit/>
          </a:bodyPr>
          <a:lstStyle/>
          <a:p>
            <a:pPr lvl="0" defTabSz="972000"/>
            <a:r>
              <a:rPr lang="en-GB"/>
              <a:t>This is the title in 36pt</a:t>
            </a:r>
          </a:p>
        </p:txBody>
      </p:sp>
      <p:sp>
        <p:nvSpPr>
          <p:cNvPr id="2" name="empower - DO NOT DELETE!!!">
            <a:extLst>
              <a:ext uri="{FF2B5EF4-FFF2-40B4-BE49-F238E27FC236}">
                <a16:creationId xmlns:a16="http://schemas.microsoft.com/office/drawing/2014/main" id="{978CAA9E-CAAE-E314-D023-855631DDB452}"/>
              </a:ext>
            </a:extLst>
          </p:cNvPr>
          <p:cNvSpPr/>
          <p:nvPr>
            <p:custDataLst>
              <p:tags r:id="rId62"/>
            </p:custDataLst>
          </p:nvPr>
        </p:nvSpPr>
        <p:spPr>
          <a:xfrm flipH="1">
            <a:off x="0" y="0"/>
            <a:ext cx="0" cy="0"/>
          </a:xfrm>
          <a:prstGeom prst="ellipse">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03200" tIns="203200" rIns="203200" bIns="203200" rtlCol="0" anchor="ctr"/>
          <a:lstStyle/>
          <a:p>
            <a:pPr lvl="0" algn="ctr" defTabSz="486000"/>
            <a:endParaRPr lang="en-GB">
              <a:solidFill>
                <a:schemeClr val="tx1"/>
              </a:solidFill>
            </a:endParaRPr>
          </a:p>
        </p:txBody>
      </p:sp>
      <p:sp>
        <p:nvSpPr>
          <p:cNvPr id="3" name="TextBox 2">
            <a:extLst>
              <a:ext uri="{FF2B5EF4-FFF2-40B4-BE49-F238E27FC236}">
                <a16:creationId xmlns:a16="http://schemas.microsoft.com/office/drawing/2014/main" id="{C83702D8-C787-BB6D-E660-FE3EF595572A}"/>
              </a:ext>
            </a:extLst>
          </p:cNvPr>
          <p:cNvSpPr txBox="1"/>
          <p:nvPr/>
        </p:nvSpPr>
        <p:spPr>
          <a:xfrm>
            <a:off x="11233601" y="6525344"/>
            <a:ext cx="406400" cy="141577"/>
          </a:xfrm>
          <a:prstGeom prst="rect">
            <a:avLst/>
          </a:prstGeom>
          <a:noFill/>
        </p:spPr>
        <p:txBody>
          <a:bodyPr vert="horz" wrap="square" lIns="0" tIns="0" rIns="0" bIns="0" rtlCol="0">
            <a:noAutofit/>
          </a:bodyPr>
          <a:lstStyle/>
          <a:p>
            <a:pPr algn="r">
              <a:lnSpc>
                <a:spcPct val="100000"/>
              </a:lnSpc>
              <a:spcAft>
                <a:spcPct val="0"/>
              </a:spcAft>
            </a:pPr>
            <a:fld id="{28EFE765-FF9D-4A30-9EA2-0EADEF4E4456}" type="slidenum">
              <a:rPr lang="en-GB" sz="900" kern="1200" baseline="0">
                <a:solidFill>
                  <a:schemeClr val="tx1"/>
                </a:solidFill>
                <a:latin typeface="+mn-lt"/>
                <a:ea typeface="+mn-ea"/>
                <a:cs typeface="+mn-cs"/>
              </a:rPr>
              <a:pPr algn="r">
                <a:lnSpc>
                  <a:spcPct val="100000"/>
                </a:lnSpc>
                <a:spcAft>
                  <a:spcPct val="0"/>
                </a:spcAft>
              </a:pPr>
              <a:t>‹#›</a:t>
            </a:fld>
            <a:endParaRPr lang="en-GB" sz="900" kern="1200" baseline="0">
              <a:solidFill>
                <a:schemeClr val="tx1"/>
              </a:solidFill>
              <a:latin typeface="+mn-lt"/>
              <a:ea typeface="+mn-ea"/>
              <a:cs typeface="+mn-cs"/>
            </a:endParaRPr>
          </a:p>
        </p:txBody>
      </p:sp>
      <p:sp>
        <p:nvSpPr>
          <p:cNvPr id="5" name="Text Placeholder 4">
            <a:extLst>
              <a:ext uri="{FF2B5EF4-FFF2-40B4-BE49-F238E27FC236}">
                <a16:creationId xmlns:a16="http://schemas.microsoft.com/office/drawing/2014/main" id="{C05D2F2F-07C4-15CA-080C-498BFCC40BE6}"/>
              </a:ext>
            </a:extLst>
          </p:cNvPr>
          <p:cNvSpPr>
            <a:spLocks noGrp="1"/>
          </p:cNvSpPr>
          <p:nvPr>
            <p:ph type="body" idx="1"/>
          </p:nvPr>
        </p:nvSpPr>
        <p:spPr>
          <a:xfrm>
            <a:off x="552000" y="1700808"/>
            <a:ext cx="11088001" cy="4320000"/>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Body heading blue</a:t>
            </a:r>
          </a:p>
          <a:p>
            <a:pPr lvl="5"/>
            <a:r>
              <a:rPr lang="en-GB"/>
              <a:t>Body heading light blue</a:t>
            </a:r>
          </a:p>
          <a:p>
            <a:pPr lvl="6"/>
            <a:r>
              <a:rPr lang="en-GB"/>
              <a:t>Numbered</a:t>
            </a:r>
          </a:p>
          <a:p>
            <a:pPr lvl="7"/>
            <a:r>
              <a:rPr lang="en-GB"/>
              <a:t>Numbered sub</a:t>
            </a:r>
          </a:p>
          <a:p>
            <a:pPr lvl="8"/>
            <a:r>
              <a:rPr lang="en-GB"/>
              <a:t>Ninth level similar to subtitle</a:t>
            </a:r>
          </a:p>
        </p:txBody>
      </p:sp>
      <p:sp>
        <p:nvSpPr>
          <p:cNvPr id="4" name="empower - DO NOT DELETE!!!" hidden="1">
            <a:extLst>
              <a:ext uri="{FF2B5EF4-FFF2-40B4-BE49-F238E27FC236}">
                <a16:creationId xmlns:a16="http://schemas.microsoft.com/office/drawing/2014/main" id="{7E20D2EC-CDD4-6ACF-993E-65381BD1BF63}"/>
              </a:ext>
            </a:extLst>
          </p:cNvPr>
          <p:cNvSpPr/>
          <p:nvPr userDrawn="1">
            <p:custDataLst>
              <p:tags r:id="rId63"/>
            </p:custDataLst>
          </p:nvPr>
        </p:nvSpPr>
        <p:spPr>
          <a:xfrm flipH="1">
            <a:off x="0" y="0"/>
            <a:ext cx="0" cy="0"/>
          </a:xfrm>
          <a:prstGeom prst="ellipse">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03200" tIns="203200" rIns="203200" bIns="203200" rtlCol="0" anchor="ctr"/>
          <a:lstStyle/>
          <a:p>
            <a:pPr algn="ctr" defTabSz="486000">
              <a:lnSpc>
                <a:spcPct val="100000"/>
              </a:lnSpc>
              <a:spcAft>
                <a:spcPct val="0"/>
              </a:spcAft>
            </a:pPr>
            <a:endParaRPr lang="en-GB">
              <a:solidFill>
                <a:schemeClr val="tx1"/>
              </a:solidFill>
            </a:endParaRPr>
          </a:p>
        </p:txBody>
      </p:sp>
    </p:spTree>
    <p:extLst>
      <p:ext uri="{BB962C8B-B14F-4D97-AF65-F5344CB8AC3E}">
        <p14:creationId xmlns:p14="http://schemas.microsoft.com/office/powerpoint/2010/main" val="4294101394"/>
      </p:ext>
    </p:extLst>
  </p:cSld>
  <p:clrMap bg1="lt1" tx1="dk1" bg2="lt2" tx2="dk2" accent1="accent1" accent2="accent2" accent3="accent3" accent4="accent4" accent5="accent5" accent6="accent6" hlink="hlink" folHlink="folHlink"/>
  <p:sldLayoutIdLst>
    <p:sldLayoutId id="2147483691" r:id="rId1"/>
    <p:sldLayoutId id="2147483657" r:id="rId2"/>
    <p:sldLayoutId id="2147483680" r:id="rId3"/>
    <p:sldLayoutId id="2147483704" r:id="rId4"/>
    <p:sldLayoutId id="2147483668" r:id="rId5"/>
    <p:sldLayoutId id="2147483692" r:id="rId6"/>
    <p:sldLayoutId id="2147483656" r:id="rId7"/>
    <p:sldLayoutId id="2147483678" r:id="rId8"/>
    <p:sldLayoutId id="2147483705" r:id="rId9"/>
    <p:sldLayoutId id="2147483699" r:id="rId10"/>
    <p:sldLayoutId id="2147483660" r:id="rId11"/>
    <p:sldLayoutId id="2147483681" r:id="rId12"/>
    <p:sldLayoutId id="2147483706" r:id="rId13"/>
    <p:sldLayoutId id="2147483670" r:id="rId14"/>
    <p:sldLayoutId id="2147483693" r:id="rId15"/>
    <p:sldLayoutId id="2147483658" r:id="rId16"/>
    <p:sldLayoutId id="2147483682" r:id="rId17"/>
    <p:sldLayoutId id="2147483707" r:id="rId18"/>
    <p:sldLayoutId id="2147483669" r:id="rId19"/>
    <p:sldLayoutId id="2147483688" r:id="rId20"/>
    <p:sldLayoutId id="2147483650" r:id="rId21"/>
    <p:sldLayoutId id="2147483671" r:id="rId22"/>
    <p:sldLayoutId id="2147483694" r:id="rId23"/>
    <p:sldLayoutId id="2147483661" r:id="rId24"/>
    <p:sldLayoutId id="2147483683" r:id="rId25"/>
    <p:sldLayoutId id="2147483649" r:id="rId26"/>
    <p:sldLayoutId id="2147483672" r:id="rId27"/>
    <p:sldLayoutId id="2147483695" r:id="rId28"/>
    <p:sldLayoutId id="2147483659" r:id="rId29"/>
    <p:sldLayoutId id="2147483673" r:id="rId30"/>
    <p:sldLayoutId id="2147483700" r:id="rId31"/>
    <p:sldLayoutId id="2147483662" r:id="rId32"/>
    <p:sldLayoutId id="2147483684" r:id="rId33"/>
    <p:sldLayoutId id="2147483651" r:id="rId34"/>
    <p:sldLayoutId id="2147483674" r:id="rId35"/>
    <p:sldLayoutId id="2147483696" r:id="rId36"/>
    <p:sldLayoutId id="2147483663" r:id="rId37"/>
    <p:sldLayoutId id="2147483685" r:id="rId38"/>
    <p:sldLayoutId id="2147483708" r:id="rId39"/>
    <p:sldLayoutId id="2147483664" r:id="rId40"/>
    <p:sldLayoutId id="2147483689" r:id="rId41"/>
    <p:sldLayoutId id="2147483652" r:id="rId42"/>
    <p:sldLayoutId id="2147483675" r:id="rId43"/>
    <p:sldLayoutId id="2147483701" r:id="rId44"/>
    <p:sldLayoutId id="2147483665" r:id="rId45"/>
    <p:sldLayoutId id="2147483686" r:id="rId46"/>
    <p:sldLayoutId id="2147483653" r:id="rId47"/>
    <p:sldLayoutId id="2147483676" r:id="rId48"/>
    <p:sldLayoutId id="2147483697" r:id="rId49"/>
    <p:sldLayoutId id="2147483654" r:id="rId50"/>
    <p:sldLayoutId id="2147483679" r:id="rId51"/>
    <p:sldLayoutId id="2147483702" r:id="rId52"/>
    <p:sldLayoutId id="2147483666" r:id="rId53"/>
    <p:sldLayoutId id="2147483690" r:id="rId54"/>
    <p:sldLayoutId id="2147483655" r:id="rId55"/>
    <p:sldLayoutId id="2147483677" r:id="rId56"/>
    <p:sldLayoutId id="2147483698" r:id="rId57"/>
    <p:sldLayoutId id="2147483667" r:id="rId58"/>
    <p:sldLayoutId id="2147483687" r:id="rId59"/>
    <p:sldLayoutId id="2147483703" r:id="rId60"/>
  </p:sldLayoutIdLst>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txStyles>
    <p:titleStyle>
      <a:lvl1pPr algn="l" defTabSz="914400" rtl="0" eaLnBrk="1" latinLnBrk="0" hangingPunct="1">
        <a:lnSpc>
          <a:spcPct val="100000"/>
        </a:lnSpc>
        <a:spcBef>
          <a:spcPct val="0"/>
        </a:spcBef>
        <a:buNone/>
        <a:defRPr lang="en-US" sz="3600" b="0" i="0" kern="1200" spc="0" baseline="0">
          <a:solidFill>
            <a:schemeClr val="tx2"/>
          </a:solidFill>
          <a:latin typeface="+mj-lt"/>
          <a:ea typeface="+mj-ea"/>
          <a:cs typeface="+mj-cs"/>
        </a:defRPr>
      </a:lvl1pPr>
    </p:titleStyle>
    <p:bodyStyle>
      <a:lvl1pPr marL="0" indent="0" algn="l" defTabSz="203200" rtl="0" eaLnBrk="1" latinLnBrk="0" hangingPunct="1">
        <a:lnSpc>
          <a:spcPct val="105000"/>
        </a:lnSpc>
        <a:spcBef>
          <a:spcPts val="1200"/>
        </a:spcBef>
        <a:spcAft>
          <a:spcPct val="0"/>
        </a:spcAft>
        <a:buFontTx/>
        <a:buNone/>
        <a:defRPr sz="1800" kern="1200" baseline="0">
          <a:solidFill>
            <a:schemeClr val="tx1"/>
          </a:solidFill>
          <a:latin typeface="+mn-lt"/>
          <a:ea typeface="+mn-ea"/>
          <a:cs typeface="+mn-cs"/>
        </a:defRPr>
      </a:lvl1pPr>
      <a:lvl2pPr marL="252000" indent="-252000" algn="l" defTabSz="203200" rtl="0" eaLnBrk="1" latinLnBrk="0" hangingPunct="1">
        <a:lnSpc>
          <a:spcPct val="105000"/>
        </a:lnSpc>
        <a:spcBef>
          <a:spcPts val="1200"/>
        </a:spcBef>
        <a:spcAft>
          <a:spcPct val="0"/>
        </a:spcAft>
        <a:buClr>
          <a:schemeClr val="accent1"/>
        </a:buClr>
        <a:buFont typeface="Wingdings" pitchFamily="2" charset="2"/>
        <a:buChar char="§"/>
        <a:defRPr lang="en-US" sz="1800" kern="1200" baseline="0" noProof="0">
          <a:solidFill>
            <a:schemeClr val="tx1"/>
          </a:solidFill>
          <a:latin typeface="+mn-lt"/>
          <a:ea typeface="+mn-ea"/>
          <a:cs typeface="+mn-cs"/>
        </a:defRPr>
      </a:lvl2pPr>
      <a:lvl3pPr marL="504000" indent="-252000" algn="l" defTabSz="203200" rtl="0" eaLnBrk="1" latinLnBrk="0" hangingPunct="1">
        <a:lnSpc>
          <a:spcPct val="105000"/>
        </a:lnSpc>
        <a:spcBef>
          <a:spcPts val="600"/>
        </a:spcBef>
        <a:spcAft>
          <a:spcPct val="0"/>
        </a:spcAft>
        <a:buFont typeface="Symbol" panose="05050102010706020507" pitchFamily="18" charset="2"/>
        <a:buChar char="-"/>
        <a:defRPr lang="en-US" sz="1800" kern="1200" baseline="0">
          <a:solidFill>
            <a:schemeClr val="tx1"/>
          </a:solidFill>
          <a:latin typeface="+mn-lt"/>
          <a:ea typeface="+mn-ea"/>
          <a:cs typeface="+mn-cs"/>
        </a:defRPr>
      </a:lvl3pPr>
      <a:lvl4pPr marL="756000" indent="-252000" algn="l" defTabSz="203200" rtl="0" eaLnBrk="1" latinLnBrk="0" hangingPunct="1">
        <a:lnSpc>
          <a:spcPct val="105000"/>
        </a:lnSpc>
        <a:spcBef>
          <a:spcPts val="600"/>
        </a:spcBef>
        <a:spcAft>
          <a:spcPct val="0"/>
        </a:spcAft>
        <a:buFont typeface="Symbol" panose="05050102010706020507" pitchFamily="18" charset="2"/>
        <a:buChar char="-"/>
        <a:defRPr lang="en-US" sz="1800" kern="1200" baseline="0">
          <a:solidFill>
            <a:schemeClr val="tx1"/>
          </a:solidFill>
          <a:latin typeface="+mn-lt"/>
          <a:ea typeface="+mn-ea"/>
          <a:cs typeface="+mn-cs"/>
        </a:defRPr>
      </a:lvl4pPr>
      <a:lvl5pPr marL="0" indent="0" algn="l" defTabSz="203200" rtl="0" eaLnBrk="1" latinLnBrk="0" hangingPunct="1">
        <a:lnSpc>
          <a:spcPct val="105000"/>
        </a:lnSpc>
        <a:spcBef>
          <a:spcPts val="1800"/>
        </a:spcBef>
        <a:spcAft>
          <a:spcPct val="0"/>
        </a:spcAft>
        <a:buFontTx/>
        <a:buNone/>
        <a:defRPr lang="en-US" sz="2000" b="1" kern="1200" baseline="0">
          <a:solidFill>
            <a:schemeClr val="accent1"/>
          </a:solidFill>
          <a:latin typeface="+mj-lt"/>
          <a:ea typeface="+mn-ea"/>
          <a:cs typeface="+mn-cs"/>
        </a:defRPr>
      </a:lvl5pPr>
      <a:lvl6pPr marL="0" indent="0" algn="l" defTabSz="203200" rtl="0" eaLnBrk="1" latinLnBrk="0" hangingPunct="1">
        <a:lnSpc>
          <a:spcPct val="105000"/>
        </a:lnSpc>
        <a:spcBef>
          <a:spcPts val="1800"/>
        </a:spcBef>
        <a:spcAft>
          <a:spcPct val="0"/>
        </a:spcAft>
        <a:buFontTx/>
        <a:buNone/>
        <a:defRPr lang="en-US" sz="2000" b="1" kern="1200" baseline="0" noProof="0">
          <a:solidFill>
            <a:schemeClr val="accent2"/>
          </a:solidFill>
          <a:latin typeface="+mj-lt"/>
          <a:ea typeface="+mn-ea"/>
          <a:cs typeface="+mn-cs"/>
        </a:defRPr>
      </a:lvl6pPr>
      <a:lvl7pPr marL="250825" indent="-250825" algn="l" defTabSz="203200" rtl="0" eaLnBrk="1" latinLnBrk="0" hangingPunct="1">
        <a:lnSpc>
          <a:spcPct val="105000"/>
        </a:lnSpc>
        <a:spcBef>
          <a:spcPts val="1200"/>
        </a:spcBef>
        <a:spcAft>
          <a:spcPct val="0"/>
        </a:spcAft>
        <a:buFont typeface="+mj-lt"/>
        <a:buAutoNum type="arabicPeriod"/>
        <a:defRPr lang="en-US" sz="1800" b="0" kern="1200" baseline="0" noProof="0">
          <a:solidFill>
            <a:schemeClr val="accent1"/>
          </a:solidFill>
          <a:latin typeface="+mj-lt"/>
          <a:ea typeface="+mn-ea"/>
          <a:cs typeface="+mn-cs"/>
        </a:defRPr>
      </a:lvl7pPr>
      <a:lvl8pPr marL="504000" indent="-252000" algn="l" defTabSz="203200" rtl="0" eaLnBrk="1" latinLnBrk="0" hangingPunct="1">
        <a:lnSpc>
          <a:spcPct val="105000"/>
        </a:lnSpc>
        <a:spcBef>
          <a:spcPts val="600"/>
        </a:spcBef>
        <a:spcAft>
          <a:spcPct val="0"/>
        </a:spcAft>
        <a:buFont typeface="+mj-lt"/>
        <a:buAutoNum type="alphaLcParenR"/>
        <a:defRPr lang="en-US" sz="1800" kern="1200" baseline="0" noProof="0">
          <a:solidFill>
            <a:schemeClr val="tx1"/>
          </a:solidFill>
          <a:latin typeface="+mn-lt"/>
          <a:ea typeface="+mn-ea"/>
          <a:cs typeface="+mn-cs"/>
        </a:defRPr>
      </a:lvl8pPr>
      <a:lvl9pPr marL="0" indent="0" algn="l" defTabSz="203200" rtl="0" eaLnBrk="1" latinLnBrk="0" hangingPunct="1">
        <a:lnSpc>
          <a:spcPct val="105000"/>
        </a:lnSpc>
        <a:spcBef>
          <a:spcPts val="1800"/>
        </a:spcBef>
        <a:spcAft>
          <a:spcPct val="0"/>
        </a:spcAft>
        <a:buFontTx/>
        <a:buNone/>
        <a:defRPr lang="en-US" sz="2000" kern="1200" baseline="0" noProof="0">
          <a:solidFill>
            <a:schemeClr val="accent2"/>
          </a:solidFill>
          <a:latin typeface="+mn-lt"/>
          <a:ea typeface="+mn-ea"/>
          <a:cs typeface="+mn-cs"/>
        </a:defRPr>
      </a:lvl9pPr>
    </p:bodyStyle>
    <p:otherStyle>
      <a:lvl1pPr marL="0" indent="0" algn="l" defTabSz="203200" rtl="0" eaLnBrk="1" latinLnBrk="0" hangingPunct="1">
        <a:lnSpc>
          <a:spcPts val="2400"/>
        </a:lnSpc>
        <a:spcBef>
          <a:spcPct val="0"/>
        </a:spcBef>
        <a:spcAft>
          <a:spcPts val="800"/>
        </a:spcAft>
        <a:buFontTx/>
        <a:buNone/>
        <a:defRPr sz="1800" kern="1200" baseline="0">
          <a:solidFill>
            <a:schemeClr val="tx1"/>
          </a:solidFill>
          <a:latin typeface="+mn-lt"/>
          <a:ea typeface="+mn-ea"/>
          <a:cs typeface="+mn-cs"/>
        </a:defRPr>
      </a:lvl1pPr>
      <a:lvl2pPr marL="203200" indent="-203200" algn="l" defTabSz="203200" rtl="0" eaLnBrk="1" latinLnBrk="0" hangingPunct="1">
        <a:lnSpc>
          <a:spcPts val="2400"/>
        </a:lnSpc>
        <a:spcBef>
          <a:spcPct val="0"/>
        </a:spcBef>
        <a:spcAft>
          <a:spcPts val="800"/>
        </a:spcAft>
        <a:buClr>
          <a:schemeClr val="accent1"/>
        </a:buClr>
        <a:buFont typeface="Wingdings" pitchFamily="2" charset="2"/>
        <a:buChar char="§"/>
        <a:defRPr lang="en-US" sz="1800" kern="1200" baseline="0" noProof="0">
          <a:solidFill>
            <a:schemeClr val="tx1"/>
          </a:solidFill>
          <a:latin typeface="+mn-lt"/>
          <a:ea typeface="+mn-ea"/>
          <a:cs typeface="+mn-cs"/>
        </a:defRPr>
      </a:lvl2pPr>
      <a:lvl3pPr marL="406400" indent="-203200" algn="l" defTabSz="203200" rtl="0" eaLnBrk="1" latinLnBrk="0" hangingPunct="1">
        <a:lnSpc>
          <a:spcPts val="2400"/>
        </a:lnSpc>
        <a:spcBef>
          <a:spcPct val="0"/>
        </a:spcBef>
        <a:spcAft>
          <a:spcPts val="800"/>
        </a:spcAft>
        <a:buFont typeface="Symbol" panose="05050102010706020507" pitchFamily="18" charset="2"/>
        <a:buChar char="-"/>
        <a:defRPr lang="en-US" sz="1800" kern="1200" baseline="0">
          <a:solidFill>
            <a:schemeClr val="tx1"/>
          </a:solidFill>
          <a:latin typeface="+mn-lt"/>
          <a:ea typeface="+mn-ea"/>
          <a:cs typeface="+mn-cs"/>
        </a:defRPr>
      </a:lvl3pPr>
      <a:lvl4pPr marL="609600" indent="-203200" algn="l" defTabSz="203200" rtl="0" eaLnBrk="1" latinLnBrk="0" hangingPunct="1">
        <a:lnSpc>
          <a:spcPts val="2000"/>
        </a:lnSpc>
        <a:spcBef>
          <a:spcPct val="0"/>
        </a:spcBef>
        <a:spcAft>
          <a:spcPts val="400"/>
        </a:spcAft>
        <a:buFont typeface="Symbol" panose="05050102010706020507" pitchFamily="18" charset="2"/>
        <a:buChar char="-"/>
        <a:defRPr lang="en-US" sz="1200" kern="1200" baseline="0">
          <a:solidFill>
            <a:schemeClr val="tx1"/>
          </a:solidFill>
          <a:latin typeface="+mn-lt"/>
          <a:ea typeface="+mn-ea"/>
          <a:cs typeface="+mn-cs"/>
        </a:defRPr>
      </a:lvl4pPr>
      <a:lvl5pPr marL="0" indent="0" algn="l" defTabSz="203200" rtl="0" eaLnBrk="1" latinLnBrk="0" hangingPunct="1">
        <a:lnSpc>
          <a:spcPts val="2000"/>
        </a:lnSpc>
        <a:spcBef>
          <a:spcPct val="0"/>
        </a:spcBef>
        <a:spcAft>
          <a:spcPts val="400"/>
        </a:spcAft>
        <a:buFontTx/>
        <a:buNone/>
        <a:defRPr lang="en-US" sz="1400" kern="1200" baseline="0">
          <a:solidFill>
            <a:schemeClr val="tx1"/>
          </a:solidFill>
          <a:latin typeface="+mn-lt"/>
          <a:ea typeface="+mn-ea"/>
          <a:cs typeface="+mn-cs"/>
        </a:defRPr>
      </a:lvl5pPr>
      <a:lvl6pPr marL="406400" indent="-406400" algn="l" defTabSz="203200" rtl="0" eaLnBrk="1" latinLnBrk="0" hangingPunct="1">
        <a:lnSpc>
          <a:spcPts val="2400"/>
        </a:lnSpc>
        <a:spcBef>
          <a:spcPct val="0"/>
        </a:spcBef>
        <a:spcAft>
          <a:spcPts val="800"/>
        </a:spcAft>
        <a:buFont typeface="+mj-lt"/>
        <a:buAutoNum type="arabicPeriod"/>
        <a:defRPr lang="en-US" sz="1800" kern="1200" baseline="0" noProof="0">
          <a:solidFill>
            <a:schemeClr val="tx1"/>
          </a:solidFill>
          <a:latin typeface="+mn-lt"/>
          <a:ea typeface="+mn-ea"/>
          <a:cs typeface="+mn-cs"/>
        </a:defRPr>
      </a:lvl6pPr>
      <a:lvl7pPr marL="0" indent="0" algn="l" defTabSz="203200" rtl="0" eaLnBrk="1" latinLnBrk="0" hangingPunct="1">
        <a:lnSpc>
          <a:spcPts val="2400"/>
        </a:lnSpc>
        <a:spcBef>
          <a:spcPct val="0"/>
        </a:spcBef>
        <a:spcAft>
          <a:spcPts val="800"/>
        </a:spcAft>
        <a:buFontTx/>
        <a:buNone/>
        <a:defRPr lang="en-US" sz="1800" b="0" kern="1200" baseline="0" noProof="0">
          <a:solidFill>
            <a:schemeClr val="accent1"/>
          </a:solidFill>
          <a:latin typeface="+mj-lt"/>
          <a:ea typeface="+mn-ea"/>
          <a:cs typeface="+mn-cs"/>
        </a:defRPr>
      </a:lvl7pPr>
      <a:lvl8pPr marL="0" indent="0" algn="l" defTabSz="203200" rtl="0" eaLnBrk="1" latinLnBrk="0" hangingPunct="1">
        <a:lnSpc>
          <a:spcPts val="3200"/>
        </a:lnSpc>
        <a:spcBef>
          <a:spcPct val="0"/>
        </a:spcBef>
        <a:spcAft>
          <a:spcPts val="1600"/>
        </a:spcAft>
        <a:buFontTx/>
        <a:buNone/>
        <a:defRPr lang="en-US" sz="2400" kern="1200" baseline="0" noProof="0">
          <a:solidFill>
            <a:schemeClr val="tx1"/>
          </a:solidFill>
          <a:latin typeface="+mn-lt"/>
          <a:ea typeface="+mn-ea"/>
          <a:cs typeface="+mn-cs"/>
        </a:defRPr>
      </a:lvl8pPr>
      <a:lvl9pPr marL="0" indent="0" algn="l" defTabSz="203200" rtl="0" eaLnBrk="1" latinLnBrk="0" hangingPunct="1">
        <a:lnSpc>
          <a:spcPts val="4000"/>
        </a:lnSpc>
        <a:spcBef>
          <a:spcPts val="1600"/>
        </a:spcBef>
        <a:spcAft>
          <a:spcPts val="1600"/>
        </a:spcAft>
        <a:buFontTx/>
        <a:buNone/>
        <a:defRPr lang="en-US" sz="3600" kern="1200" baseline="0" noProof="0">
          <a:solidFill>
            <a:schemeClr val="accent1"/>
          </a:solidFill>
          <a:latin typeface="+mj-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840">
          <p15:clr>
            <a:srgbClr val="F26B43"/>
          </p15:clr>
        </p15:guide>
        <p15:guide id="3" pos="347">
          <p15:clr>
            <a:srgbClr val="F26B43"/>
          </p15:clr>
        </p15:guide>
        <p15:guide id="5" orient="horz" pos="799">
          <p15:clr>
            <a:srgbClr val="F26B43"/>
          </p15:clr>
        </p15:guide>
        <p15:guide id="7" orient="horz" pos="1071">
          <p15:clr>
            <a:srgbClr val="F26B43"/>
          </p15:clr>
        </p15:guide>
        <p15:guide id="8" orient="horz" pos="527" userDrawn="1">
          <p15:clr>
            <a:srgbClr val="5ACBF0"/>
          </p15:clr>
        </p15:guide>
        <p15:guide id="9" pos="733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notesSlide" Target="../notesSlides/notesSlide1.xml"/><Relationship Id="rId18" Type="http://schemas.openxmlformats.org/officeDocument/2006/relationships/image" Target="../media/image13.png"/><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slideLayout" Target="../slideLayouts/slideLayout4.xml"/><Relationship Id="rId17" Type="http://schemas.openxmlformats.org/officeDocument/2006/relationships/image" Target="../media/image12.png"/><Relationship Id="rId2" Type="http://schemas.openxmlformats.org/officeDocument/2006/relationships/tags" Target="../tags/tag13.xml"/><Relationship Id="rId16" Type="http://schemas.openxmlformats.org/officeDocument/2006/relationships/image" Target="../media/image11.png"/><Relationship Id="rId20" Type="http://schemas.openxmlformats.org/officeDocument/2006/relationships/image" Target="../media/image15.png"/><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image" Target="../media/image10.png"/><Relationship Id="rId10" Type="http://schemas.openxmlformats.org/officeDocument/2006/relationships/tags" Target="../tags/tag21.xml"/><Relationship Id="rId19" Type="http://schemas.openxmlformats.org/officeDocument/2006/relationships/image" Target="../media/image14.png"/><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image" Target="../media/image9.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tags" Target="../tags/tag23.xml"/></Relationships>
</file>

<file path=ppt/slides/_rels/slide3.xml.rels><?xml version="1.0" encoding="UTF-8" standalone="yes"?>
<Relationships xmlns="http://schemas.openxmlformats.org/package/2006/relationships"><Relationship Id="rId13" Type="http://schemas.openxmlformats.org/officeDocument/2006/relationships/tags" Target="../tags/tag36.xml"/><Relationship Id="rId18" Type="http://schemas.openxmlformats.org/officeDocument/2006/relationships/tags" Target="../tags/tag41.xml"/><Relationship Id="rId26" Type="http://schemas.openxmlformats.org/officeDocument/2006/relationships/tags" Target="../tags/tag49.xml"/><Relationship Id="rId39" Type="http://schemas.openxmlformats.org/officeDocument/2006/relationships/hyperlink" Target="https://www.loom.com/share/b79700d3f18b4966a68eb68bff53d0d1" TargetMode="External"/><Relationship Id="rId21" Type="http://schemas.openxmlformats.org/officeDocument/2006/relationships/tags" Target="../tags/tag44.xml"/><Relationship Id="rId34" Type="http://schemas.openxmlformats.org/officeDocument/2006/relationships/image" Target="../media/image20.png"/><Relationship Id="rId42" Type="http://schemas.openxmlformats.org/officeDocument/2006/relationships/image" Target="../media/image22.png"/><Relationship Id="rId7" Type="http://schemas.openxmlformats.org/officeDocument/2006/relationships/tags" Target="../tags/tag30.xml"/><Relationship Id="rId2" Type="http://schemas.openxmlformats.org/officeDocument/2006/relationships/tags" Target="../tags/tag25.xml"/><Relationship Id="rId16" Type="http://schemas.openxmlformats.org/officeDocument/2006/relationships/tags" Target="../tags/tag39.xml"/><Relationship Id="rId29" Type="http://schemas.openxmlformats.org/officeDocument/2006/relationships/notesSlide" Target="../notesSlides/notesSlide3.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tags" Target="../tags/tag34.xml"/><Relationship Id="rId24" Type="http://schemas.openxmlformats.org/officeDocument/2006/relationships/tags" Target="../tags/tag47.xml"/><Relationship Id="rId32" Type="http://schemas.openxmlformats.org/officeDocument/2006/relationships/image" Target="../media/image18.png"/><Relationship Id="rId37" Type="http://schemas.openxmlformats.org/officeDocument/2006/relationships/hyperlink" Target="https://www.loom.com/share/1278367c53b54a829e25ca7827b344e6" TargetMode="External"/><Relationship Id="rId40" Type="http://schemas.openxmlformats.org/officeDocument/2006/relationships/hyperlink" Target="https://www.loom.com/share/406006e43a6b41a08939432c4ded557c" TargetMode="External"/><Relationship Id="rId45" Type="http://schemas.openxmlformats.org/officeDocument/2006/relationships/hyperlink" Target="https://www.loom.com/share/b70e2a713dbc47a3afc8ee8dc610b9ba" TargetMode="External"/><Relationship Id="rId5" Type="http://schemas.openxmlformats.org/officeDocument/2006/relationships/tags" Target="../tags/tag28.xml"/><Relationship Id="rId15" Type="http://schemas.openxmlformats.org/officeDocument/2006/relationships/tags" Target="../tags/tag38.xml"/><Relationship Id="rId23" Type="http://schemas.openxmlformats.org/officeDocument/2006/relationships/tags" Target="../tags/tag46.xml"/><Relationship Id="rId28" Type="http://schemas.openxmlformats.org/officeDocument/2006/relationships/slideLayout" Target="../slideLayouts/slideLayout18.xml"/><Relationship Id="rId36" Type="http://schemas.openxmlformats.org/officeDocument/2006/relationships/hyperlink" Target="https://www.loom.com/share/37b014d638834df89869088e8114c065" TargetMode="External"/><Relationship Id="rId10" Type="http://schemas.openxmlformats.org/officeDocument/2006/relationships/tags" Target="../tags/tag33.xml"/><Relationship Id="rId19" Type="http://schemas.openxmlformats.org/officeDocument/2006/relationships/tags" Target="../tags/tag42.xml"/><Relationship Id="rId31" Type="http://schemas.openxmlformats.org/officeDocument/2006/relationships/image" Target="../media/image17.svg"/><Relationship Id="rId44" Type="http://schemas.openxmlformats.org/officeDocument/2006/relationships/hyperlink" Target="https://www.loom.com/share/da0ec7e47a82475cbe5cab1105079a47" TargetMode="Externa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tags" Target="../tags/tag37.xml"/><Relationship Id="rId22" Type="http://schemas.openxmlformats.org/officeDocument/2006/relationships/tags" Target="../tags/tag45.xml"/><Relationship Id="rId27" Type="http://schemas.openxmlformats.org/officeDocument/2006/relationships/tags" Target="../tags/tag50.xml"/><Relationship Id="rId30" Type="http://schemas.openxmlformats.org/officeDocument/2006/relationships/image" Target="../media/image16.png"/><Relationship Id="rId35" Type="http://schemas.openxmlformats.org/officeDocument/2006/relationships/image" Target="../media/image21.svg"/><Relationship Id="rId43" Type="http://schemas.openxmlformats.org/officeDocument/2006/relationships/image" Target="../media/image23.svg"/><Relationship Id="rId8" Type="http://schemas.openxmlformats.org/officeDocument/2006/relationships/tags" Target="../tags/tag31.xml"/><Relationship Id="rId3" Type="http://schemas.openxmlformats.org/officeDocument/2006/relationships/tags" Target="../tags/tag26.xml"/><Relationship Id="rId12" Type="http://schemas.openxmlformats.org/officeDocument/2006/relationships/tags" Target="../tags/tag35.xml"/><Relationship Id="rId17" Type="http://schemas.openxmlformats.org/officeDocument/2006/relationships/tags" Target="../tags/tag40.xml"/><Relationship Id="rId25" Type="http://schemas.openxmlformats.org/officeDocument/2006/relationships/tags" Target="../tags/tag48.xml"/><Relationship Id="rId33" Type="http://schemas.openxmlformats.org/officeDocument/2006/relationships/image" Target="../media/image19.svg"/><Relationship Id="rId38" Type="http://schemas.openxmlformats.org/officeDocument/2006/relationships/hyperlink" Target="https://www.loom.com/share/345cbba8c67a4fcb9c5ec5ab6769daba" TargetMode="External"/><Relationship Id="rId20" Type="http://schemas.openxmlformats.org/officeDocument/2006/relationships/tags" Target="../tags/tag43.xml"/><Relationship Id="rId41" Type="http://schemas.openxmlformats.org/officeDocument/2006/relationships/hyperlink" Target="https://www.loom.com/share/599e962b3ff74c54aef021cefb9afb5f" TargetMode="External"/></Relationships>
</file>

<file path=ppt/slides/_rels/slide4.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tags" Target="../tags/tag63.xml"/><Relationship Id="rId18" Type="http://schemas.openxmlformats.org/officeDocument/2006/relationships/tags" Target="../tags/tag68.xml"/><Relationship Id="rId26" Type="http://schemas.openxmlformats.org/officeDocument/2006/relationships/hyperlink" Target="https://www.loom.com/share/e7307893b5034e1da727da1b740d3b4e" TargetMode="External"/><Relationship Id="rId3" Type="http://schemas.openxmlformats.org/officeDocument/2006/relationships/tags" Target="../tags/tag53.xml"/><Relationship Id="rId21" Type="http://schemas.openxmlformats.org/officeDocument/2006/relationships/notesSlide" Target="../notesSlides/notesSlide4.xml"/><Relationship Id="rId7" Type="http://schemas.openxmlformats.org/officeDocument/2006/relationships/tags" Target="../tags/tag57.xml"/><Relationship Id="rId12" Type="http://schemas.openxmlformats.org/officeDocument/2006/relationships/tags" Target="../tags/tag62.xml"/><Relationship Id="rId17" Type="http://schemas.openxmlformats.org/officeDocument/2006/relationships/tags" Target="../tags/tag67.xml"/><Relationship Id="rId25" Type="http://schemas.openxmlformats.org/officeDocument/2006/relationships/hyperlink" Target="https://www.loom.com/share/5e4c6a04ab0f492e885893566db75f6e" TargetMode="External"/><Relationship Id="rId2" Type="http://schemas.openxmlformats.org/officeDocument/2006/relationships/tags" Target="../tags/tag52.xml"/><Relationship Id="rId16" Type="http://schemas.openxmlformats.org/officeDocument/2006/relationships/tags" Target="../tags/tag66.xml"/><Relationship Id="rId20" Type="http://schemas.openxmlformats.org/officeDocument/2006/relationships/slideLayout" Target="../slideLayouts/slideLayout17.xml"/><Relationship Id="rId29" Type="http://schemas.openxmlformats.org/officeDocument/2006/relationships/hyperlink" Target="https://www.loom.com/share/6debddd6d50a4d3181506979f4b23afb" TargetMode="External"/><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tags" Target="../tags/tag61.xml"/><Relationship Id="rId24" Type="http://schemas.openxmlformats.org/officeDocument/2006/relationships/hyperlink" Target="https://www.loom.com/share/e5c43998769d44168c22b6a394f06082?sharedAppSource=personal_library" TargetMode="External"/><Relationship Id="rId5" Type="http://schemas.openxmlformats.org/officeDocument/2006/relationships/tags" Target="../tags/tag55.xml"/><Relationship Id="rId15" Type="http://schemas.openxmlformats.org/officeDocument/2006/relationships/tags" Target="../tags/tag65.xml"/><Relationship Id="rId23" Type="http://schemas.openxmlformats.org/officeDocument/2006/relationships/hyperlink" Target="https://www.loom.com/share/5b46caa1cc8a4c5ab610bd2b4e1b343d" TargetMode="External"/><Relationship Id="rId28" Type="http://schemas.openxmlformats.org/officeDocument/2006/relationships/hyperlink" Target="https://www.loom.com/share/5255b62d31ef4b1082ac0562ebfff3df" TargetMode="External"/><Relationship Id="rId10" Type="http://schemas.openxmlformats.org/officeDocument/2006/relationships/tags" Target="../tags/tag60.xml"/><Relationship Id="rId19" Type="http://schemas.openxmlformats.org/officeDocument/2006/relationships/tags" Target="../tags/tag69.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tags" Target="../tags/tag64.xml"/><Relationship Id="rId22" Type="http://schemas.openxmlformats.org/officeDocument/2006/relationships/hyperlink" Target="https://www.loom.com/share/1b32a0c896ba4d1dadcd67af995f4879" TargetMode="External"/><Relationship Id="rId27" Type="http://schemas.openxmlformats.org/officeDocument/2006/relationships/hyperlink" Target="https://www.loom.com/share/bca2022cbd6e467d85b443f4d77e8cd1" TargetMode="External"/><Relationship Id="rId30" Type="http://schemas.openxmlformats.org/officeDocument/2006/relationships/hyperlink" Target="https://www.loom.com/share/a7149f0cf291417093b2baf3afc3b4bc" TargetMode="Externa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1.xml"/><Relationship Id="rId1" Type="http://schemas.openxmlformats.org/officeDocument/2006/relationships/tags" Target="../tags/tag70.xml"/></Relationships>
</file>

<file path=ppt/slides/_rels/slide6.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tags" Target="../tags/tag83.xml"/><Relationship Id="rId18" Type="http://schemas.openxmlformats.org/officeDocument/2006/relationships/tags" Target="../tags/tag88.xml"/><Relationship Id="rId26" Type="http://schemas.openxmlformats.org/officeDocument/2006/relationships/hyperlink" Target="https://www.loom.com/share/c026262493374a5ab370bc707d41f329?sharedAppSource=personal_library" TargetMode="External"/><Relationship Id="rId3" Type="http://schemas.openxmlformats.org/officeDocument/2006/relationships/tags" Target="../tags/tag73.xml"/><Relationship Id="rId21" Type="http://schemas.openxmlformats.org/officeDocument/2006/relationships/image" Target="../media/image24.png"/><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tags" Target="../tags/tag87.xml"/><Relationship Id="rId25" Type="http://schemas.openxmlformats.org/officeDocument/2006/relationships/hyperlink" Target="https://www.loom.com/share/040ae429e89a4c43b392feef1b4a054c?sharedAppSource=personal_library" TargetMode="External"/><Relationship Id="rId2" Type="http://schemas.openxmlformats.org/officeDocument/2006/relationships/tags" Target="../tags/tag72.xml"/><Relationship Id="rId16" Type="http://schemas.openxmlformats.org/officeDocument/2006/relationships/tags" Target="../tags/tag86.xml"/><Relationship Id="rId20" Type="http://schemas.openxmlformats.org/officeDocument/2006/relationships/notesSlide" Target="../notesSlides/notesSlide6.xml"/><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tags" Target="../tags/tag81.xml"/><Relationship Id="rId24" Type="http://schemas.openxmlformats.org/officeDocument/2006/relationships/hyperlink" Target="https://www.loom.com/share/2b78d414ab514301817f2b13f60a9bda?sharedAppSource=personal_library" TargetMode="External"/><Relationship Id="rId5" Type="http://schemas.openxmlformats.org/officeDocument/2006/relationships/tags" Target="../tags/tag75.xml"/><Relationship Id="rId15" Type="http://schemas.openxmlformats.org/officeDocument/2006/relationships/tags" Target="../tags/tag85.xml"/><Relationship Id="rId23" Type="http://schemas.openxmlformats.org/officeDocument/2006/relationships/hyperlink" Target="https://www.loom.com/share/abbd7d928570487286945c1bd4f5e915?sharedAppSource=personal_library" TargetMode="External"/><Relationship Id="rId10" Type="http://schemas.openxmlformats.org/officeDocument/2006/relationships/tags" Target="../tags/tag80.xml"/><Relationship Id="rId19" Type="http://schemas.openxmlformats.org/officeDocument/2006/relationships/slideLayout" Target="../slideLayouts/slideLayout17.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4.xml"/><Relationship Id="rId22" Type="http://schemas.openxmlformats.org/officeDocument/2006/relationships/hyperlink" Target="https://www.loom.com/share/7aa765789f7e40e0af7cd3db7a2f35da?sharedAppSource=personal_library" TargetMode="External"/><Relationship Id="rId27" Type="http://schemas.openxmlformats.org/officeDocument/2006/relationships/hyperlink" Target="https://www.loom.com/share/1d2f4e54b2b0471997724c6fbf1c51ef?sharedAppSource=personal_library" TargetMode="External"/></Relationships>
</file>

<file path=ppt/slides/_rels/slide7.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tags" Target="../tags/tag101.xml"/><Relationship Id="rId18" Type="http://schemas.openxmlformats.org/officeDocument/2006/relationships/tags" Target="../tags/tag106.xml"/><Relationship Id="rId3" Type="http://schemas.openxmlformats.org/officeDocument/2006/relationships/tags" Target="../tags/tag91.xml"/><Relationship Id="rId21" Type="http://schemas.openxmlformats.org/officeDocument/2006/relationships/slideLayout" Target="../slideLayouts/slideLayout14.xml"/><Relationship Id="rId7" Type="http://schemas.openxmlformats.org/officeDocument/2006/relationships/tags" Target="../tags/tag95.xml"/><Relationship Id="rId12" Type="http://schemas.openxmlformats.org/officeDocument/2006/relationships/tags" Target="../tags/tag100.xml"/><Relationship Id="rId17" Type="http://schemas.openxmlformats.org/officeDocument/2006/relationships/tags" Target="../tags/tag105.xml"/><Relationship Id="rId25" Type="http://schemas.openxmlformats.org/officeDocument/2006/relationships/image" Target="../media/image27.png"/><Relationship Id="rId2" Type="http://schemas.openxmlformats.org/officeDocument/2006/relationships/tags" Target="../tags/tag90.xml"/><Relationship Id="rId16" Type="http://schemas.openxmlformats.org/officeDocument/2006/relationships/tags" Target="../tags/tag104.xml"/><Relationship Id="rId20" Type="http://schemas.openxmlformats.org/officeDocument/2006/relationships/tags" Target="../tags/tag108.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tags" Target="../tags/tag99.xml"/><Relationship Id="rId24" Type="http://schemas.openxmlformats.org/officeDocument/2006/relationships/image" Target="../media/image26.png"/><Relationship Id="rId5" Type="http://schemas.openxmlformats.org/officeDocument/2006/relationships/tags" Target="../tags/tag93.xml"/><Relationship Id="rId15" Type="http://schemas.openxmlformats.org/officeDocument/2006/relationships/tags" Target="../tags/tag103.xml"/><Relationship Id="rId23" Type="http://schemas.openxmlformats.org/officeDocument/2006/relationships/image" Target="../media/image25.png"/><Relationship Id="rId10" Type="http://schemas.openxmlformats.org/officeDocument/2006/relationships/tags" Target="../tags/tag98.xml"/><Relationship Id="rId19" Type="http://schemas.openxmlformats.org/officeDocument/2006/relationships/tags" Target="../tags/tag107.xml"/><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tags" Target="../tags/tag102.xml"/><Relationship Id="rId2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3" Type="http://schemas.openxmlformats.org/officeDocument/2006/relationships/tags" Target="../tags/tag121.xml"/><Relationship Id="rId18" Type="http://schemas.openxmlformats.org/officeDocument/2006/relationships/tags" Target="../tags/tag126.xml"/><Relationship Id="rId26" Type="http://schemas.openxmlformats.org/officeDocument/2006/relationships/tags" Target="../tags/tag134.xml"/><Relationship Id="rId39" Type="http://schemas.openxmlformats.org/officeDocument/2006/relationships/tags" Target="../tags/tag147.xml"/><Relationship Id="rId21" Type="http://schemas.openxmlformats.org/officeDocument/2006/relationships/tags" Target="../tags/tag129.xml"/><Relationship Id="rId34" Type="http://schemas.openxmlformats.org/officeDocument/2006/relationships/tags" Target="../tags/tag142.xml"/><Relationship Id="rId42" Type="http://schemas.openxmlformats.org/officeDocument/2006/relationships/notesSlide" Target="../notesSlides/notesSlide8.xml"/><Relationship Id="rId7" Type="http://schemas.openxmlformats.org/officeDocument/2006/relationships/tags" Target="../tags/tag115.xml"/><Relationship Id="rId2" Type="http://schemas.openxmlformats.org/officeDocument/2006/relationships/tags" Target="../tags/tag110.xml"/><Relationship Id="rId16" Type="http://schemas.openxmlformats.org/officeDocument/2006/relationships/tags" Target="../tags/tag124.xml"/><Relationship Id="rId29" Type="http://schemas.openxmlformats.org/officeDocument/2006/relationships/tags" Target="../tags/tag137.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tags" Target="../tags/tag119.xml"/><Relationship Id="rId24" Type="http://schemas.openxmlformats.org/officeDocument/2006/relationships/tags" Target="../tags/tag132.xml"/><Relationship Id="rId32" Type="http://schemas.openxmlformats.org/officeDocument/2006/relationships/tags" Target="../tags/tag140.xml"/><Relationship Id="rId37" Type="http://schemas.openxmlformats.org/officeDocument/2006/relationships/tags" Target="../tags/tag145.xml"/><Relationship Id="rId40" Type="http://schemas.openxmlformats.org/officeDocument/2006/relationships/tags" Target="../tags/tag148.xml"/><Relationship Id="rId45" Type="http://schemas.openxmlformats.org/officeDocument/2006/relationships/image" Target="../media/image30.png"/><Relationship Id="rId5" Type="http://schemas.openxmlformats.org/officeDocument/2006/relationships/tags" Target="../tags/tag113.xml"/><Relationship Id="rId15" Type="http://schemas.openxmlformats.org/officeDocument/2006/relationships/tags" Target="../tags/tag123.xml"/><Relationship Id="rId23" Type="http://schemas.openxmlformats.org/officeDocument/2006/relationships/tags" Target="../tags/tag131.xml"/><Relationship Id="rId28" Type="http://schemas.openxmlformats.org/officeDocument/2006/relationships/tags" Target="../tags/tag136.xml"/><Relationship Id="rId36" Type="http://schemas.openxmlformats.org/officeDocument/2006/relationships/tags" Target="../tags/tag144.xml"/><Relationship Id="rId10" Type="http://schemas.openxmlformats.org/officeDocument/2006/relationships/tags" Target="../tags/tag118.xml"/><Relationship Id="rId19" Type="http://schemas.openxmlformats.org/officeDocument/2006/relationships/tags" Target="../tags/tag127.xml"/><Relationship Id="rId31" Type="http://schemas.openxmlformats.org/officeDocument/2006/relationships/tags" Target="../tags/tag139.xml"/><Relationship Id="rId44" Type="http://schemas.openxmlformats.org/officeDocument/2006/relationships/image" Target="../media/image29.png"/><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tags" Target="../tags/tag122.xml"/><Relationship Id="rId22" Type="http://schemas.openxmlformats.org/officeDocument/2006/relationships/tags" Target="../tags/tag130.xml"/><Relationship Id="rId27" Type="http://schemas.openxmlformats.org/officeDocument/2006/relationships/tags" Target="../tags/tag135.xml"/><Relationship Id="rId30" Type="http://schemas.openxmlformats.org/officeDocument/2006/relationships/tags" Target="../tags/tag138.xml"/><Relationship Id="rId35" Type="http://schemas.openxmlformats.org/officeDocument/2006/relationships/tags" Target="../tags/tag143.xml"/><Relationship Id="rId43" Type="http://schemas.openxmlformats.org/officeDocument/2006/relationships/image" Target="../media/image28.png"/><Relationship Id="rId8" Type="http://schemas.openxmlformats.org/officeDocument/2006/relationships/tags" Target="../tags/tag116.xml"/><Relationship Id="rId3" Type="http://schemas.openxmlformats.org/officeDocument/2006/relationships/tags" Target="../tags/tag111.xml"/><Relationship Id="rId12" Type="http://schemas.openxmlformats.org/officeDocument/2006/relationships/tags" Target="../tags/tag120.xml"/><Relationship Id="rId17" Type="http://schemas.openxmlformats.org/officeDocument/2006/relationships/tags" Target="../tags/tag125.xml"/><Relationship Id="rId25" Type="http://schemas.openxmlformats.org/officeDocument/2006/relationships/tags" Target="../tags/tag133.xml"/><Relationship Id="rId33" Type="http://schemas.openxmlformats.org/officeDocument/2006/relationships/tags" Target="../tags/tag141.xml"/><Relationship Id="rId38" Type="http://schemas.openxmlformats.org/officeDocument/2006/relationships/tags" Target="../tags/tag146.xml"/><Relationship Id="rId20" Type="http://schemas.openxmlformats.org/officeDocument/2006/relationships/tags" Target="../tags/tag128.xml"/><Relationship Id="rId4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1AFF1631-B803-68E6-E33B-6987C7FEC907}"/>
              </a:ext>
            </a:extLst>
          </p:cNvPr>
          <p:cNvPicPr>
            <a:picLocks noGrp="1" noChangeAspect="1"/>
          </p:cNvPicPr>
          <p:nvPr>
            <p:ph type="pic" sz="quarter" idx="10"/>
          </p:nvPr>
        </p:nvPicPr>
        <p:blipFill>
          <a:blip r:embed="rId14" cstate="screen">
            <a:extLst>
              <a:ext uri="{28A0092B-C50C-407E-A947-70E740481C1C}">
                <a14:useLocalDpi xmlns:a14="http://schemas.microsoft.com/office/drawing/2010/main"/>
              </a:ext>
            </a:extLst>
          </a:blip>
          <a:srcRect t="4600" r="4535" b="66"/>
          <a:stretch>
            <a:fillRect/>
          </a:stretch>
        </p:blipFill>
        <p:spPr>
          <a:xfrm>
            <a:off x="0" y="0"/>
            <a:ext cx="12192000" cy="6858000"/>
          </a:xfrm>
        </p:spPr>
      </p:pic>
      <p:sp>
        <p:nvSpPr>
          <p:cNvPr id="7" name="Subtitle 6">
            <a:extLst>
              <a:ext uri="{FF2B5EF4-FFF2-40B4-BE49-F238E27FC236}">
                <a16:creationId xmlns:a16="http://schemas.microsoft.com/office/drawing/2014/main" id="{C5118821-5055-0090-2D8B-952E34FFF5D2}"/>
              </a:ext>
            </a:extLst>
          </p:cNvPr>
          <p:cNvSpPr>
            <a:spLocks noGrp="1"/>
          </p:cNvSpPr>
          <p:nvPr>
            <p:ph type="subTitle" idx="1" hasCustomPrompt="1"/>
            <p:custDataLst>
              <p:tags r:id="rId2"/>
            </p:custDataLst>
          </p:nvPr>
        </p:nvSpPr>
        <p:spPr>
          <a:xfrm>
            <a:off x="550799" y="3061072"/>
            <a:ext cx="3708725" cy="1016000"/>
          </a:xfrm>
        </p:spPr>
        <p:txBody>
          <a:bodyPr/>
          <a:lstStyle/>
          <a:p>
            <a:r>
              <a:rPr lang="en-GB" dirty="0"/>
              <a:t>Explore empower® Express features and tools</a:t>
            </a:r>
          </a:p>
        </p:txBody>
      </p:sp>
      <p:sp>
        <p:nvSpPr>
          <p:cNvPr id="6" name="Title 5">
            <a:extLst>
              <a:ext uri="{FF2B5EF4-FFF2-40B4-BE49-F238E27FC236}">
                <a16:creationId xmlns:a16="http://schemas.microsoft.com/office/drawing/2014/main" id="{536EA734-1712-6F9E-4CE0-A6D2A0330590}"/>
              </a:ext>
            </a:extLst>
          </p:cNvPr>
          <p:cNvSpPr>
            <a:spLocks noGrp="1"/>
          </p:cNvSpPr>
          <p:nvPr>
            <p:ph type="title"/>
            <p:custDataLst>
              <p:tags r:id="rId3"/>
            </p:custDataLst>
          </p:nvPr>
        </p:nvSpPr>
        <p:spPr/>
        <p:txBody>
          <a:bodyPr/>
          <a:lstStyle/>
          <a:p>
            <a:r>
              <a:rPr lang="en-GB"/>
              <a:t>Video guides</a:t>
            </a:r>
          </a:p>
        </p:txBody>
      </p:sp>
      <p:sp>
        <p:nvSpPr>
          <p:cNvPr id="20" name="Rectangle 19">
            <a:extLst>
              <a:ext uri="{FF2B5EF4-FFF2-40B4-BE49-F238E27FC236}">
                <a16:creationId xmlns:a16="http://schemas.microsoft.com/office/drawing/2014/main" id="{39009EF4-BE91-1544-C954-6416B2CB3270}"/>
              </a:ext>
            </a:extLst>
          </p:cNvPr>
          <p:cNvSpPr/>
          <p:nvPr/>
        </p:nvSpPr>
        <p:spPr>
          <a:xfrm>
            <a:off x="8324826" y="0"/>
            <a:ext cx="3867173" cy="6858000"/>
          </a:xfrm>
          <a:prstGeom prst="rect">
            <a:avLst/>
          </a:prstGeom>
          <a:gradFill flip="none" rotWithShape="1">
            <a:gsLst>
              <a:gs pos="37000">
                <a:schemeClr val="accent6">
                  <a:lumMod val="10000"/>
                  <a:alpha val="0"/>
                </a:schemeClr>
              </a:gs>
              <a:gs pos="0">
                <a:schemeClr val="tx1">
                  <a:alpha val="62397"/>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Logo">
            <a:extLst>
              <a:ext uri="{FF2B5EF4-FFF2-40B4-BE49-F238E27FC236}">
                <a16:creationId xmlns:a16="http://schemas.microsoft.com/office/drawing/2014/main" id="{8DD4026E-5BD7-BC24-C7AE-5C582787CB82}"/>
              </a:ext>
            </a:extLst>
          </p:cNvPr>
          <p:cNvSpPr/>
          <p:nvPr/>
        </p:nvSpPr>
        <p:spPr bwMode="black">
          <a:xfrm>
            <a:off x="9211095" y="767924"/>
            <a:ext cx="2442107" cy="660400"/>
          </a:xfrm>
          <a:custGeom>
            <a:avLst/>
            <a:gdLst>
              <a:gd name="connsiteX0" fmla="*/ 6897053 w 7750397"/>
              <a:gd name="connsiteY0" fmla="*/ 282131 h 2095880"/>
              <a:gd name="connsiteX1" fmla="*/ 6921151 w 7750397"/>
              <a:gd name="connsiteY1" fmla="*/ 306229 h 2095880"/>
              <a:gd name="connsiteX2" fmla="*/ 6921151 w 7750397"/>
              <a:gd name="connsiteY2" fmla="*/ 709708 h 2095880"/>
              <a:gd name="connsiteX3" fmla="*/ 6897053 w 7750397"/>
              <a:gd name="connsiteY3" fmla="*/ 733806 h 2095880"/>
              <a:gd name="connsiteX4" fmla="*/ 6493574 w 7750397"/>
              <a:gd name="connsiteY4" fmla="*/ 733806 h 2095880"/>
              <a:gd name="connsiteX5" fmla="*/ 6469475 w 7750397"/>
              <a:gd name="connsiteY5" fmla="*/ 709708 h 2095880"/>
              <a:gd name="connsiteX6" fmla="*/ 6469475 w 7750397"/>
              <a:gd name="connsiteY6" fmla="*/ 306229 h 2095880"/>
              <a:gd name="connsiteX7" fmla="*/ 6493574 w 7750397"/>
              <a:gd name="connsiteY7" fmla="*/ 282131 h 2095880"/>
              <a:gd name="connsiteX8" fmla="*/ 6897053 w 7750397"/>
              <a:gd name="connsiteY8" fmla="*/ 282131 h 2095880"/>
              <a:gd name="connsiteX9" fmla="*/ 7040594 w 7750397"/>
              <a:gd name="connsiteY9" fmla="*/ 829342 h 2095880"/>
              <a:gd name="connsiteX10" fmla="*/ 7016497 w 7750397"/>
              <a:gd name="connsiteY10" fmla="*/ 853345 h 2095880"/>
              <a:gd name="connsiteX11" fmla="*/ 7016497 w 7750397"/>
              <a:gd name="connsiteY11" fmla="*/ 1256919 h 2095880"/>
              <a:gd name="connsiteX12" fmla="*/ 7040594 w 7750397"/>
              <a:gd name="connsiteY12" fmla="*/ 1281017 h 2095880"/>
              <a:gd name="connsiteX13" fmla="*/ 7444073 w 7750397"/>
              <a:gd name="connsiteY13" fmla="*/ 1281017 h 2095880"/>
              <a:gd name="connsiteX14" fmla="*/ 7468077 w 7750397"/>
              <a:gd name="connsiteY14" fmla="*/ 1256919 h 2095880"/>
              <a:gd name="connsiteX15" fmla="*/ 7468077 w 7750397"/>
              <a:gd name="connsiteY15" fmla="*/ 853345 h 2095880"/>
              <a:gd name="connsiteX16" fmla="*/ 7444073 w 7750397"/>
              <a:gd name="connsiteY16" fmla="*/ 829342 h 2095880"/>
              <a:gd name="connsiteX17" fmla="*/ 7040594 w 7750397"/>
              <a:gd name="connsiteY17" fmla="*/ 829342 h 2095880"/>
              <a:gd name="connsiteX18" fmla="*/ 7750398 w 7750397"/>
              <a:gd name="connsiteY18" fmla="*/ 366998 h 2095880"/>
              <a:gd name="connsiteX19" fmla="*/ 7383304 w 7750397"/>
              <a:gd name="connsiteY19" fmla="*/ 0 h 2095880"/>
              <a:gd name="connsiteX20" fmla="*/ 7040309 w 7750397"/>
              <a:gd name="connsiteY20" fmla="*/ 0 h 2095880"/>
              <a:gd name="connsiteX21" fmla="*/ 7016211 w 7750397"/>
              <a:gd name="connsiteY21" fmla="*/ 24098 h 2095880"/>
              <a:gd name="connsiteX22" fmla="*/ 7016401 w 7750397"/>
              <a:gd name="connsiteY22" fmla="*/ 709708 h 2095880"/>
              <a:gd name="connsiteX23" fmla="*/ 7040499 w 7750397"/>
              <a:gd name="connsiteY23" fmla="*/ 733806 h 2095880"/>
              <a:gd name="connsiteX24" fmla="*/ 7726299 w 7750397"/>
              <a:gd name="connsiteY24" fmla="*/ 733806 h 2095880"/>
              <a:gd name="connsiteX25" fmla="*/ 7750398 w 7750397"/>
              <a:gd name="connsiteY25" fmla="*/ 709708 h 2095880"/>
              <a:gd name="connsiteX26" fmla="*/ 7750398 w 7750397"/>
              <a:gd name="connsiteY26" fmla="*/ 366998 h 2095880"/>
              <a:gd name="connsiteX27" fmla="*/ 6719602 w 7750397"/>
              <a:gd name="connsiteY27" fmla="*/ 829437 h 2095880"/>
              <a:gd name="connsiteX28" fmla="*/ 6695599 w 7750397"/>
              <a:gd name="connsiteY28" fmla="*/ 853440 h 2095880"/>
              <a:gd name="connsiteX29" fmla="*/ 6695599 w 7750397"/>
              <a:gd name="connsiteY29" fmla="*/ 1031177 h 2095880"/>
              <a:gd name="connsiteX30" fmla="*/ 6719602 w 7750397"/>
              <a:gd name="connsiteY30" fmla="*/ 1055275 h 2095880"/>
              <a:gd name="connsiteX31" fmla="*/ 6896957 w 7750397"/>
              <a:gd name="connsiteY31" fmla="*/ 1055275 h 2095880"/>
              <a:gd name="connsiteX32" fmla="*/ 6921056 w 7750397"/>
              <a:gd name="connsiteY32" fmla="*/ 1031272 h 2095880"/>
              <a:gd name="connsiteX33" fmla="*/ 6921056 w 7750397"/>
              <a:gd name="connsiteY33" fmla="*/ 853440 h 2095880"/>
              <a:gd name="connsiteX34" fmla="*/ 6896957 w 7750397"/>
              <a:gd name="connsiteY34" fmla="*/ 829437 h 2095880"/>
              <a:gd name="connsiteX35" fmla="*/ 6719602 w 7750397"/>
              <a:gd name="connsiteY35" fmla="*/ 829437 h 2095880"/>
              <a:gd name="connsiteX36" fmla="*/ 1851660 w 7750397"/>
              <a:gd name="connsiteY36" fmla="*/ 1069181 h 2095880"/>
              <a:gd name="connsiteX37" fmla="*/ 1712595 w 7750397"/>
              <a:gd name="connsiteY37" fmla="*/ 1099566 h 2095880"/>
              <a:gd name="connsiteX38" fmla="*/ 1599057 w 7750397"/>
              <a:gd name="connsiteY38" fmla="*/ 1194721 h 2095880"/>
              <a:gd name="connsiteX39" fmla="*/ 1508189 w 7750397"/>
              <a:gd name="connsiteY39" fmla="*/ 1100233 h 2095880"/>
              <a:gd name="connsiteX40" fmla="*/ 1387126 w 7750397"/>
              <a:gd name="connsiteY40" fmla="*/ 1070515 h 2095880"/>
              <a:gd name="connsiteX41" fmla="*/ 1251299 w 7750397"/>
              <a:gd name="connsiteY41" fmla="*/ 1100900 h 2095880"/>
              <a:gd name="connsiteX42" fmla="*/ 1145000 w 7750397"/>
              <a:gd name="connsiteY42" fmla="*/ 1194816 h 2095880"/>
              <a:gd name="connsiteX43" fmla="*/ 1145000 w 7750397"/>
              <a:gd name="connsiteY43" fmla="*/ 1089755 h 2095880"/>
              <a:gd name="connsiteX44" fmla="*/ 887159 w 7750397"/>
              <a:gd name="connsiteY44" fmla="*/ 1089755 h 2095880"/>
              <a:gd name="connsiteX45" fmla="*/ 887159 w 7750397"/>
              <a:gd name="connsiteY45" fmla="*/ 1808512 h 2095880"/>
              <a:gd name="connsiteX46" fmla="*/ 1166717 w 7750397"/>
              <a:gd name="connsiteY46" fmla="*/ 1808512 h 2095880"/>
              <a:gd name="connsiteX47" fmla="*/ 1166717 w 7750397"/>
              <a:gd name="connsiteY47" fmla="*/ 1422368 h 2095880"/>
              <a:gd name="connsiteX48" fmla="*/ 1191292 w 7750397"/>
              <a:gd name="connsiteY48" fmla="*/ 1327785 h 2095880"/>
              <a:gd name="connsiteX49" fmla="*/ 1263110 w 7750397"/>
              <a:gd name="connsiteY49" fmla="*/ 1295400 h 2095880"/>
              <a:gd name="connsiteX50" fmla="*/ 1339501 w 7750397"/>
              <a:gd name="connsiteY50" fmla="*/ 1327499 h 2095880"/>
              <a:gd name="connsiteX51" fmla="*/ 1362837 w 7750397"/>
              <a:gd name="connsiteY51" fmla="*/ 1433608 h 2095880"/>
              <a:gd name="connsiteX52" fmla="*/ 1362837 w 7750397"/>
              <a:gd name="connsiteY52" fmla="*/ 1808512 h 2095880"/>
              <a:gd name="connsiteX53" fmla="*/ 1641062 w 7750397"/>
              <a:gd name="connsiteY53" fmla="*/ 1808512 h 2095880"/>
              <a:gd name="connsiteX54" fmla="*/ 1641062 w 7750397"/>
              <a:gd name="connsiteY54" fmla="*/ 1426369 h 2095880"/>
              <a:gd name="connsiteX55" fmla="*/ 1665351 w 7750397"/>
              <a:gd name="connsiteY55" fmla="*/ 1327214 h 2095880"/>
              <a:gd name="connsiteX56" fmla="*/ 1741456 w 7750397"/>
              <a:gd name="connsiteY56" fmla="*/ 1295400 h 2095880"/>
              <a:gd name="connsiteX57" fmla="*/ 1814608 w 7750397"/>
              <a:gd name="connsiteY57" fmla="*/ 1325880 h 2095880"/>
              <a:gd name="connsiteX58" fmla="*/ 1837277 w 7750397"/>
              <a:gd name="connsiteY58" fmla="*/ 1423702 h 2095880"/>
              <a:gd name="connsiteX59" fmla="*/ 1837277 w 7750397"/>
              <a:gd name="connsiteY59" fmla="*/ 1808512 h 2095880"/>
              <a:gd name="connsiteX60" fmla="*/ 2116741 w 7750397"/>
              <a:gd name="connsiteY60" fmla="*/ 1808512 h 2095880"/>
              <a:gd name="connsiteX61" fmla="*/ 2116741 w 7750397"/>
              <a:gd name="connsiteY61" fmla="*/ 1318546 h 2095880"/>
              <a:gd name="connsiteX62" fmla="*/ 2047208 w 7750397"/>
              <a:gd name="connsiteY62" fmla="*/ 1134713 h 2095880"/>
              <a:gd name="connsiteX63" fmla="*/ 1851660 w 7750397"/>
              <a:gd name="connsiteY63" fmla="*/ 1069277 h 2095880"/>
              <a:gd name="connsiteX64" fmla="*/ 411575 w 7750397"/>
              <a:gd name="connsiteY64" fmla="*/ 1066324 h 2095880"/>
              <a:gd name="connsiteX65" fmla="*/ 0 w 7750397"/>
              <a:gd name="connsiteY65" fmla="*/ 1456277 h 2095880"/>
              <a:gd name="connsiteX66" fmla="*/ 400717 w 7750397"/>
              <a:gd name="connsiteY66" fmla="*/ 1834134 h 2095880"/>
              <a:gd name="connsiteX67" fmla="*/ 796100 w 7750397"/>
              <a:gd name="connsiteY67" fmla="*/ 1596676 h 2095880"/>
              <a:gd name="connsiteX68" fmla="*/ 523494 w 7750397"/>
              <a:gd name="connsiteY68" fmla="*/ 1596676 h 2095880"/>
              <a:gd name="connsiteX69" fmla="*/ 416814 w 7750397"/>
              <a:gd name="connsiteY69" fmla="*/ 1656112 h 2095880"/>
              <a:gd name="connsiteX70" fmla="*/ 284607 w 7750397"/>
              <a:gd name="connsiteY70" fmla="*/ 1513046 h 2095880"/>
              <a:gd name="connsiteX71" fmla="*/ 818959 w 7750397"/>
              <a:gd name="connsiteY71" fmla="*/ 1513046 h 2095880"/>
              <a:gd name="connsiteX72" fmla="*/ 818959 w 7750397"/>
              <a:gd name="connsiteY72" fmla="*/ 1495520 h 2095880"/>
              <a:gd name="connsiteX73" fmla="*/ 411385 w 7750397"/>
              <a:gd name="connsiteY73" fmla="*/ 1066419 h 2095880"/>
              <a:gd name="connsiteX74" fmla="*/ 284797 w 7750397"/>
              <a:gd name="connsiteY74" fmla="*/ 1369885 h 2095880"/>
              <a:gd name="connsiteX75" fmla="*/ 408908 w 7750397"/>
              <a:gd name="connsiteY75" fmla="*/ 1236250 h 2095880"/>
              <a:gd name="connsiteX76" fmla="*/ 538448 w 7750397"/>
              <a:gd name="connsiteY76" fmla="*/ 1369885 h 2095880"/>
              <a:gd name="connsiteX77" fmla="*/ 284797 w 7750397"/>
              <a:gd name="connsiteY77" fmla="*/ 1369885 h 2095880"/>
              <a:gd name="connsiteX78" fmla="*/ 2702052 w 7750397"/>
              <a:gd name="connsiteY78" fmla="*/ 1072991 h 2095880"/>
              <a:gd name="connsiteX79" fmla="*/ 2470023 w 7750397"/>
              <a:gd name="connsiteY79" fmla="*/ 1183672 h 2095880"/>
              <a:gd name="connsiteX80" fmla="*/ 2470023 w 7750397"/>
              <a:gd name="connsiteY80" fmla="*/ 1091851 h 2095880"/>
              <a:gd name="connsiteX81" fmla="*/ 2217706 w 7750397"/>
              <a:gd name="connsiteY81" fmla="*/ 1091851 h 2095880"/>
              <a:gd name="connsiteX82" fmla="*/ 2217706 w 7750397"/>
              <a:gd name="connsiteY82" fmla="*/ 2095881 h 2095880"/>
              <a:gd name="connsiteX83" fmla="*/ 2494312 w 7750397"/>
              <a:gd name="connsiteY83" fmla="*/ 2095881 h 2095880"/>
              <a:gd name="connsiteX84" fmla="*/ 2494312 w 7750397"/>
              <a:gd name="connsiteY84" fmla="*/ 1740980 h 2095880"/>
              <a:gd name="connsiteX85" fmla="*/ 2696718 w 7750397"/>
              <a:gd name="connsiteY85" fmla="*/ 1832705 h 2095880"/>
              <a:gd name="connsiteX86" fmla="*/ 3013901 w 7750397"/>
              <a:gd name="connsiteY86" fmla="*/ 1452182 h 2095880"/>
              <a:gd name="connsiteX87" fmla="*/ 2702147 w 7750397"/>
              <a:gd name="connsiteY87" fmla="*/ 1072991 h 2095880"/>
              <a:gd name="connsiteX88" fmla="*/ 2611660 w 7750397"/>
              <a:gd name="connsiteY88" fmla="*/ 1614202 h 2095880"/>
              <a:gd name="connsiteX89" fmla="*/ 2494312 w 7750397"/>
              <a:gd name="connsiteY89" fmla="*/ 1452182 h 2095880"/>
              <a:gd name="connsiteX90" fmla="*/ 2614422 w 7750397"/>
              <a:gd name="connsiteY90" fmla="*/ 1286161 h 2095880"/>
              <a:gd name="connsiteX91" fmla="*/ 2729103 w 7750397"/>
              <a:gd name="connsiteY91" fmla="*/ 1452182 h 2095880"/>
              <a:gd name="connsiteX92" fmla="*/ 2611660 w 7750397"/>
              <a:gd name="connsiteY92" fmla="*/ 1614202 h 2095880"/>
              <a:gd name="connsiteX93" fmla="*/ 3458623 w 7750397"/>
              <a:gd name="connsiteY93" fmla="*/ 1066324 h 2095880"/>
              <a:gd name="connsiteX94" fmla="*/ 3053810 w 7750397"/>
              <a:gd name="connsiteY94" fmla="*/ 1449515 h 2095880"/>
              <a:gd name="connsiteX95" fmla="*/ 3458623 w 7750397"/>
              <a:gd name="connsiteY95" fmla="*/ 1834134 h 2095880"/>
              <a:gd name="connsiteX96" fmla="*/ 3863435 w 7750397"/>
              <a:gd name="connsiteY96" fmla="*/ 1449515 h 2095880"/>
              <a:gd name="connsiteX97" fmla="*/ 3458623 w 7750397"/>
              <a:gd name="connsiteY97" fmla="*/ 1066324 h 2095880"/>
              <a:gd name="connsiteX98" fmla="*/ 3458623 w 7750397"/>
              <a:gd name="connsiteY98" fmla="*/ 1635728 h 2095880"/>
              <a:gd name="connsiteX99" fmla="*/ 3341180 w 7750397"/>
              <a:gd name="connsiteY99" fmla="*/ 1449515 h 2095880"/>
              <a:gd name="connsiteX100" fmla="*/ 3458623 w 7750397"/>
              <a:gd name="connsiteY100" fmla="*/ 1264634 h 2095880"/>
              <a:gd name="connsiteX101" fmla="*/ 3577400 w 7750397"/>
              <a:gd name="connsiteY101" fmla="*/ 1449515 h 2095880"/>
              <a:gd name="connsiteX102" fmla="*/ 3458623 w 7750397"/>
              <a:gd name="connsiteY102" fmla="*/ 1635728 h 2095880"/>
              <a:gd name="connsiteX103" fmla="*/ 4805744 w 7750397"/>
              <a:gd name="connsiteY103" fmla="*/ 1091851 h 2095880"/>
              <a:gd name="connsiteX104" fmla="*/ 4699159 w 7750397"/>
              <a:gd name="connsiteY104" fmla="*/ 1529143 h 2095880"/>
              <a:gd name="connsiteX105" fmla="*/ 4588478 w 7750397"/>
              <a:gd name="connsiteY105" fmla="*/ 1091851 h 2095880"/>
              <a:gd name="connsiteX106" fmla="*/ 4348258 w 7750397"/>
              <a:gd name="connsiteY106" fmla="*/ 1091851 h 2095880"/>
              <a:gd name="connsiteX107" fmla="*/ 4237578 w 7750397"/>
              <a:gd name="connsiteY107" fmla="*/ 1529143 h 2095880"/>
              <a:gd name="connsiteX108" fmla="*/ 4130898 w 7750397"/>
              <a:gd name="connsiteY108" fmla="*/ 1091851 h 2095880"/>
              <a:gd name="connsiteX109" fmla="*/ 3848862 w 7750397"/>
              <a:gd name="connsiteY109" fmla="*/ 1091851 h 2095880"/>
              <a:gd name="connsiteX110" fmla="*/ 4085082 w 7750397"/>
              <a:gd name="connsiteY110" fmla="*/ 1808512 h 2095880"/>
              <a:gd name="connsiteX111" fmla="*/ 4364356 w 7750397"/>
              <a:gd name="connsiteY111" fmla="*/ 1808512 h 2095880"/>
              <a:gd name="connsiteX112" fmla="*/ 4468368 w 7750397"/>
              <a:gd name="connsiteY112" fmla="*/ 1394174 h 2095880"/>
              <a:gd name="connsiteX113" fmla="*/ 4572191 w 7750397"/>
              <a:gd name="connsiteY113" fmla="*/ 1808512 h 2095880"/>
              <a:gd name="connsiteX114" fmla="*/ 4851559 w 7750397"/>
              <a:gd name="connsiteY114" fmla="*/ 1808512 h 2095880"/>
              <a:gd name="connsiteX115" fmla="*/ 5076825 w 7750397"/>
              <a:gd name="connsiteY115" fmla="*/ 1091851 h 2095880"/>
              <a:gd name="connsiteX116" fmla="*/ 4805648 w 7750397"/>
              <a:gd name="connsiteY116" fmla="*/ 1091851 h 2095880"/>
              <a:gd name="connsiteX117" fmla="*/ 5476018 w 7750397"/>
              <a:gd name="connsiteY117" fmla="*/ 1066229 h 2095880"/>
              <a:gd name="connsiteX118" fmla="*/ 5064443 w 7750397"/>
              <a:gd name="connsiteY118" fmla="*/ 1456182 h 2095880"/>
              <a:gd name="connsiteX119" fmla="*/ 5465159 w 7750397"/>
              <a:gd name="connsiteY119" fmla="*/ 1834039 h 2095880"/>
              <a:gd name="connsiteX120" fmla="*/ 5860542 w 7750397"/>
              <a:gd name="connsiteY120" fmla="*/ 1596581 h 2095880"/>
              <a:gd name="connsiteX121" fmla="*/ 5587937 w 7750397"/>
              <a:gd name="connsiteY121" fmla="*/ 1596581 h 2095880"/>
              <a:gd name="connsiteX122" fmla="*/ 5481257 w 7750397"/>
              <a:gd name="connsiteY122" fmla="*/ 1656017 h 2095880"/>
              <a:gd name="connsiteX123" fmla="*/ 5349049 w 7750397"/>
              <a:gd name="connsiteY123" fmla="*/ 1512951 h 2095880"/>
              <a:gd name="connsiteX124" fmla="*/ 5883402 w 7750397"/>
              <a:gd name="connsiteY124" fmla="*/ 1512951 h 2095880"/>
              <a:gd name="connsiteX125" fmla="*/ 5883402 w 7750397"/>
              <a:gd name="connsiteY125" fmla="*/ 1495425 h 2095880"/>
              <a:gd name="connsiteX126" fmla="*/ 5475828 w 7750397"/>
              <a:gd name="connsiteY126" fmla="*/ 1066324 h 2095880"/>
              <a:gd name="connsiteX127" fmla="*/ 5349240 w 7750397"/>
              <a:gd name="connsiteY127" fmla="*/ 1369790 h 2095880"/>
              <a:gd name="connsiteX128" fmla="*/ 5473351 w 7750397"/>
              <a:gd name="connsiteY128" fmla="*/ 1236155 h 2095880"/>
              <a:gd name="connsiteX129" fmla="*/ 5602891 w 7750397"/>
              <a:gd name="connsiteY129" fmla="*/ 1369790 h 2095880"/>
              <a:gd name="connsiteX130" fmla="*/ 5349240 w 7750397"/>
              <a:gd name="connsiteY130" fmla="*/ 1369790 h 2095880"/>
              <a:gd name="connsiteX131" fmla="*/ 6443377 w 7750397"/>
              <a:gd name="connsiteY131" fmla="*/ 1072896 h 2095880"/>
              <a:gd name="connsiteX132" fmla="*/ 6220682 w 7750397"/>
              <a:gd name="connsiteY132" fmla="*/ 1222724 h 2095880"/>
              <a:gd name="connsiteX133" fmla="*/ 6220682 w 7750397"/>
              <a:gd name="connsiteY133" fmla="*/ 1091756 h 2095880"/>
              <a:gd name="connsiteX134" fmla="*/ 5957507 w 7750397"/>
              <a:gd name="connsiteY134" fmla="*/ 1091756 h 2095880"/>
              <a:gd name="connsiteX135" fmla="*/ 5957507 w 7750397"/>
              <a:gd name="connsiteY135" fmla="*/ 1808417 h 2095880"/>
              <a:gd name="connsiteX136" fmla="*/ 6243543 w 7750397"/>
              <a:gd name="connsiteY136" fmla="*/ 1808417 h 2095880"/>
              <a:gd name="connsiteX137" fmla="*/ 6243543 w 7750397"/>
              <a:gd name="connsiteY137" fmla="*/ 1514285 h 2095880"/>
              <a:gd name="connsiteX138" fmla="*/ 6410897 w 7750397"/>
              <a:gd name="connsiteY138" fmla="*/ 1353598 h 2095880"/>
              <a:gd name="connsiteX139" fmla="*/ 6468999 w 7750397"/>
              <a:gd name="connsiteY139" fmla="*/ 1357693 h 2095880"/>
              <a:gd name="connsiteX140" fmla="*/ 6468999 w 7750397"/>
              <a:gd name="connsiteY140" fmla="*/ 1072896 h 2095880"/>
              <a:gd name="connsiteX141" fmla="*/ 6443377 w 7750397"/>
              <a:gd name="connsiteY141" fmla="*/ 1072896 h 209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7750397" h="2095880">
                <a:moveTo>
                  <a:pt x="6897053" y="282131"/>
                </a:moveTo>
                <a:lnTo>
                  <a:pt x="6921151" y="306229"/>
                </a:lnTo>
                <a:lnTo>
                  <a:pt x="6921151" y="709708"/>
                </a:lnTo>
                <a:lnTo>
                  <a:pt x="6897053" y="733806"/>
                </a:lnTo>
                <a:lnTo>
                  <a:pt x="6493574" y="733806"/>
                </a:lnTo>
                <a:lnTo>
                  <a:pt x="6469475" y="709708"/>
                </a:lnTo>
                <a:lnTo>
                  <a:pt x="6469475" y="306229"/>
                </a:lnTo>
                <a:lnTo>
                  <a:pt x="6493574" y="282131"/>
                </a:lnTo>
                <a:lnTo>
                  <a:pt x="6897053" y="282131"/>
                </a:lnTo>
                <a:close/>
                <a:moveTo>
                  <a:pt x="7040594" y="829342"/>
                </a:moveTo>
                <a:lnTo>
                  <a:pt x="7016497" y="853345"/>
                </a:lnTo>
                <a:lnTo>
                  <a:pt x="7016497" y="1256919"/>
                </a:lnTo>
                <a:lnTo>
                  <a:pt x="7040594" y="1281017"/>
                </a:lnTo>
                <a:lnTo>
                  <a:pt x="7444073" y="1281017"/>
                </a:lnTo>
                <a:lnTo>
                  <a:pt x="7468077" y="1256919"/>
                </a:lnTo>
                <a:lnTo>
                  <a:pt x="7468077" y="853345"/>
                </a:lnTo>
                <a:lnTo>
                  <a:pt x="7444073" y="829342"/>
                </a:lnTo>
                <a:lnTo>
                  <a:pt x="7040594" y="829342"/>
                </a:lnTo>
                <a:close/>
                <a:moveTo>
                  <a:pt x="7750398" y="366998"/>
                </a:moveTo>
                <a:lnTo>
                  <a:pt x="7383304" y="0"/>
                </a:lnTo>
                <a:lnTo>
                  <a:pt x="7040309" y="0"/>
                </a:lnTo>
                <a:lnTo>
                  <a:pt x="7016211" y="24098"/>
                </a:lnTo>
                <a:lnTo>
                  <a:pt x="7016401" y="709708"/>
                </a:lnTo>
                <a:lnTo>
                  <a:pt x="7040499" y="733806"/>
                </a:lnTo>
                <a:lnTo>
                  <a:pt x="7726299" y="733806"/>
                </a:lnTo>
                <a:lnTo>
                  <a:pt x="7750398" y="709708"/>
                </a:lnTo>
                <a:lnTo>
                  <a:pt x="7750398" y="366998"/>
                </a:lnTo>
                <a:close/>
                <a:moveTo>
                  <a:pt x="6719602" y="829437"/>
                </a:moveTo>
                <a:lnTo>
                  <a:pt x="6695599" y="853440"/>
                </a:lnTo>
                <a:lnTo>
                  <a:pt x="6695599" y="1031177"/>
                </a:lnTo>
                <a:lnTo>
                  <a:pt x="6719602" y="1055275"/>
                </a:lnTo>
                <a:lnTo>
                  <a:pt x="6896957" y="1055275"/>
                </a:lnTo>
                <a:lnTo>
                  <a:pt x="6921056" y="1031272"/>
                </a:lnTo>
                <a:lnTo>
                  <a:pt x="6921056" y="853440"/>
                </a:lnTo>
                <a:lnTo>
                  <a:pt x="6896957" y="829437"/>
                </a:lnTo>
                <a:lnTo>
                  <a:pt x="6719602" y="829437"/>
                </a:lnTo>
                <a:close/>
                <a:moveTo>
                  <a:pt x="1851660" y="1069181"/>
                </a:moveTo>
                <a:cubicBezTo>
                  <a:pt x="1800035" y="1069181"/>
                  <a:pt x="1753648" y="1079373"/>
                  <a:pt x="1712595" y="1099566"/>
                </a:cubicBezTo>
                <a:cubicBezTo>
                  <a:pt x="1671447" y="1119854"/>
                  <a:pt x="1633633" y="1151573"/>
                  <a:pt x="1599057" y="1194721"/>
                </a:cubicBezTo>
                <a:cubicBezTo>
                  <a:pt x="1572387" y="1151573"/>
                  <a:pt x="1542098" y="1120045"/>
                  <a:pt x="1508189" y="1100233"/>
                </a:cubicBezTo>
                <a:cubicBezTo>
                  <a:pt x="1474280" y="1080421"/>
                  <a:pt x="1433893" y="1070515"/>
                  <a:pt x="1387126" y="1070515"/>
                </a:cubicBezTo>
                <a:cubicBezTo>
                  <a:pt x="1335977" y="1070515"/>
                  <a:pt x="1290638" y="1080611"/>
                  <a:pt x="1251299" y="1100900"/>
                </a:cubicBezTo>
                <a:cubicBezTo>
                  <a:pt x="1211961" y="1121188"/>
                  <a:pt x="1176528" y="1152430"/>
                  <a:pt x="1145000" y="1194816"/>
                </a:cubicBezTo>
                <a:lnTo>
                  <a:pt x="1145000" y="1089755"/>
                </a:lnTo>
                <a:lnTo>
                  <a:pt x="887159" y="1089755"/>
                </a:lnTo>
                <a:lnTo>
                  <a:pt x="887159" y="1808512"/>
                </a:lnTo>
                <a:lnTo>
                  <a:pt x="1166717" y="1808512"/>
                </a:lnTo>
                <a:lnTo>
                  <a:pt x="1166717" y="1422368"/>
                </a:lnTo>
                <a:cubicBezTo>
                  <a:pt x="1166717" y="1380935"/>
                  <a:pt x="1174909" y="1349407"/>
                  <a:pt x="1191292" y="1327785"/>
                </a:cubicBezTo>
                <a:cubicBezTo>
                  <a:pt x="1207675" y="1306163"/>
                  <a:pt x="1231678" y="1295400"/>
                  <a:pt x="1263110" y="1295400"/>
                </a:cubicBezTo>
                <a:cubicBezTo>
                  <a:pt x="1298543" y="1295400"/>
                  <a:pt x="1323975" y="1306068"/>
                  <a:pt x="1339501" y="1327499"/>
                </a:cubicBezTo>
                <a:cubicBezTo>
                  <a:pt x="1355027" y="1348931"/>
                  <a:pt x="1362837" y="1384268"/>
                  <a:pt x="1362837" y="1433608"/>
                </a:cubicBezTo>
                <a:lnTo>
                  <a:pt x="1362837" y="1808512"/>
                </a:lnTo>
                <a:lnTo>
                  <a:pt x="1641062" y="1808512"/>
                </a:lnTo>
                <a:lnTo>
                  <a:pt x="1641062" y="1426369"/>
                </a:lnTo>
                <a:cubicBezTo>
                  <a:pt x="1641062" y="1381411"/>
                  <a:pt x="1649159" y="1348359"/>
                  <a:pt x="1665351" y="1327214"/>
                </a:cubicBezTo>
                <a:cubicBezTo>
                  <a:pt x="1681543" y="1306068"/>
                  <a:pt x="1706880" y="1295400"/>
                  <a:pt x="1741456" y="1295400"/>
                </a:cubicBezTo>
                <a:cubicBezTo>
                  <a:pt x="1776032" y="1295400"/>
                  <a:pt x="1799558" y="1305592"/>
                  <a:pt x="1814608" y="1325880"/>
                </a:cubicBezTo>
                <a:cubicBezTo>
                  <a:pt x="1829657" y="1346168"/>
                  <a:pt x="1837277" y="1378744"/>
                  <a:pt x="1837277" y="1423702"/>
                </a:cubicBezTo>
                <a:lnTo>
                  <a:pt x="1837277" y="1808512"/>
                </a:lnTo>
                <a:lnTo>
                  <a:pt x="2116741" y="1808512"/>
                </a:lnTo>
                <a:lnTo>
                  <a:pt x="2116741" y="1318546"/>
                </a:lnTo>
                <a:cubicBezTo>
                  <a:pt x="2116741" y="1239679"/>
                  <a:pt x="2093595" y="1178338"/>
                  <a:pt x="2047208" y="1134713"/>
                </a:cubicBezTo>
                <a:cubicBezTo>
                  <a:pt x="2000822" y="1091089"/>
                  <a:pt x="1935670" y="1069277"/>
                  <a:pt x="1851660" y="1069277"/>
                </a:cubicBezTo>
                <a:close/>
                <a:moveTo>
                  <a:pt x="411575" y="1066324"/>
                </a:moveTo>
                <a:cubicBezTo>
                  <a:pt x="156591" y="1066324"/>
                  <a:pt x="0" y="1216057"/>
                  <a:pt x="0" y="1456277"/>
                </a:cubicBezTo>
                <a:cubicBezTo>
                  <a:pt x="0" y="1696498"/>
                  <a:pt x="152495" y="1834134"/>
                  <a:pt x="400717" y="1834134"/>
                </a:cubicBezTo>
                <a:cubicBezTo>
                  <a:pt x="622078" y="1834134"/>
                  <a:pt x="757047" y="1751838"/>
                  <a:pt x="796100" y="1596676"/>
                </a:cubicBezTo>
                <a:lnTo>
                  <a:pt x="523494" y="1596676"/>
                </a:lnTo>
                <a:cubicBezTo>
                  <a:pt x="509968" y="1634490"/>
                  <a:pt x="472250" y="1656112"/>
                  <a:pt x="416814" y="1656112"/>
                </a:cubicBezTo>
                <a:cubicBezTo>
                  <a:pt x="334518" y="1656112"/>
                  <a:pt x="287274" y="1604867"/>
                  <a:pt x="284607" y="1513046"/>
                </a:cubicBezTo>
                <a:lnTo>
                  <a:pt x="818959" y="1513046"/>
                </a:lnTo>
                <a:lnTo>
                  <a:pt x="818959" y="1495520"/>
                </a:lnTo>
                <a:cubicBezTo>
                  <a:pt x="818959" y="1225582"/>
                  <a:pt x="665131" y="1066419"/>
                  <a:pt x="411385" y="1066419"/>
                </a:cubicBezTo>
                <a:close/>
                <a:moveTo>
                  <a:pt x="284797" y="1369885"/>
                </a:moveTo>
                <a:cubicBezTo>
                  <a:pt x="288703" y="1284923"/>
                  <a:pt x="334709" y="1236250"/>
                  <a:pt x="408908" y="1236250"/>
                </a:cubicBezTo>
                <a:cubicBezTo>
                  <a:pt x="489871" y="1236250"/>
                  <a:pt x="533019" y="1280827"/>
                  <a:pt x="538448" y="1369885"/>
                </a:cubicBezTo>
                <a:lnTo>
                  <a:pt x="284797" y="1369885"/>
                </a:lnTo>
                <a:close/>
                <a:moveTo>
                  <a:pt x="2702052" y="1072991"/>
                </a:moveTo>
                <a:cubicBezTo>
                  <a:pt x="2599563" y="1072991"/>
                  <a:pt x="2526697" y="1106710"/>
                  <a:pt x="2470023" y="1183672"/>
                </a:cubicBezTo>
                <a:lnTo>
                  <a:pt x="2470023" y="1091851"/>
                </a:lnTo>
                <a:lnTo>
                  <a:pt x="2217706" y="1091851"/>
                </a:lnTo>
                <a:lnTo>
                  <a:pt x="2217706" y="2095881"/>
                </a:lnTo>
                <a:lnTo>
                  <a:pt x="2494312" y="2095881"/>
                </a:lnTo>
                <a:lnTo>
                  <a:pt x="2494312" y="1740980"/>
                </a:lnTo>
                <a:cubicBezTo>
                  <a:pt x="2544223" y="1804416"/>
                  <a:pt x="2608993" y="1832705"/>
                  <a:pt x="2696718" y="1832705"/>
                </a:cubicBezTo>
                <a:cubicBezTo>
                  <a:pt x="2888361" y="1832705"/>
                  <a:pt x="3013901" y="1685544"/>
                  <a:pt x="3013901" y="1452182"/>
                </a:cubicBezTo>
                <a:cubicBezTo>
                  <a:pt x="3013901" y="1218819"/>
                  <a:pt x="2884361" y="1072991"/>
                  <a:pt x="2702147" y="1072991"/>
                </a:cubicBezTo>
                <a:close/>
                <a:moveTo>
                  <a:pt x="2611660" y="1614202"/>
                </a:moveTo>
                <a:cubicBezTo>
                  <a:pt x="2533460" y="1614202"/>
                  <a:pt x="2494312" y="1560195"/>
                  <a:pt x="2494312" y="1452182"/>
                </a:cubicBezTo>
                <a:cubicBezTo>
                  <a:pt x="2494312" y="1338834"/>
                  <a:pt x="2529364" y="1286161"/>
                  <a:pt x="2614422" y="1286161"/>
                </a:cubicBezTo>
                <a:cubicBezTo>
                  <a:pt x="2692718" y="1286161"/>
                  <a:pt x="2729103" y="1340168"/>
                  <a:pt x="2729103" y="1452182"/>
                </a:cubicBezTo>
                <a:cubicBezTo>
                  <a:pt x="2729103" y="1564196"/>
                  <a:pt x="2688622" y="1614202"/>
                  <a:pt x="2611660" y="1614202"/>
                </a:cubicBezTo>
                <a:close/>
                <a:moveTo>
                  <a:pt x="3458623" y="1066324"/>
                </a:moveTo>
                <a:cubicBezTo>
                  <a:pt x="3206306" y="1066324"/>
                  <a:pt x="3053810" y="1211961"/>
                  <a:pt x="3053810" y="1449515"/>
                </a:cubicBezTo>
                <a:cubicBezTo>
                  <a:pt x="3053810" y="1687068"/>
                  <a:pt x="3206306" y="1834134"/>
                  <a:pt x="3458623" y="1834134"/>
                </a:cubicBezTo>
                <a:cubicBezTo>
                  <a:pt x="3710940" y="1834134"/>
                  <a:pt x="3863435" y="1687068"/>
                  <a:pt x="3863435" y="1449515"/>
                </a:cubicBezTo>
                <a:cubicBezTo>
                  <a:pt x="3863435" y="1211961"/>
                  <a:pt x="3710940" y="1066324"/>
                  <a:pt x="3458623" y="1066324"/>
                </a:cubicBezTo>
                <a:close/>
                <a:moveTo>
                  <a:pt x="3458623" y="1635728"/>
                </a:moveTo>
                <a:cubicBezTo>
                  <a:pt x="3372231" y="1635728"/>
                  <a:pt x="3341180" y="1576388"/>
                  <a:pt x="3341180" y="1449515"/>
                </a:cubicBezTo>
                <a:cubicBezTo>
                  <a:pt x="3341180" y="1322642"/>
                  <a:pt x="3372231" y="1264634"/>
                  <a:pt x="3458623" y="1264634"/>
                </a:cubicBezTo>
                <a:cubicBezTo>
                  <a:pt x="3545015" y="1264634"/>
                  <a:pt x="3577400" y="1322737"/>
                  <a:pt x="3577400" y="1449515"/>
                </a:cubicBezTo>
                <a:cubicBezTo>
                  <a:pt x="3577400" y="1576292"/>
                  <a:pt x="3545015" y="1635728"/>
                  <a:pt x="3458623" y="1635728"/>
                </a:cubicBezTo>
                <a:close/>
                <a:moveTo>
                  <a:pt x="4805744" y="1091851"/>
                </a:moveTo>
                <a:lnTo>
                  <a:pt x="4699159" y="1529143"/>
                </a:lnTo>
                <a:lnTo>
                  <a:pt x="4588478" y="1091851"/>
                </a:lnTo>
                <a:lnTo>
                  <a:pt x="4348258" y="1091851"/>
                </a:lnTo>
                <a:lnTo>
                  <a:pt x="4237578" y="1529143"/>
                </a:lnTo>
                <a:lnTo>
                  <a:pt x="4130898" y="1091851"/>
                </a:lnTo>
                <a:lnTo>
                  <a:pt x="3848862" y="1091851"/>
                </a:lnTo>
                <a:lnTo>
                  <a:pt x="4085082" y="1808512"/>
                </a:lnTo>
                <a:lnTo>
                  <a:pt x="4364356" y="1808512"/>
                </a:lnTo>
                <a:lnTo>
                  <a:pt x="4468368" y="1394174"/>
                </a:lnTo>
                <a:lnTo>
                  <a:pt x="4572191" y="1808512"/>
                </a:lnTo>
                <a:lnTo>
                  <a:pt x="4851559" y="1808512"/>
                </a:lnTo>
                <a:lnTo>
                  <a:pt x="5076825" y="1091851"/>
                </a:lnTo>
                <a:lnTo>
                  <a:pt x="4805648" y="1091851"/>
                </a:lnTo>
                <a:close/>
                <a:moveTo>
                  <a:pt x="5476018" y="1066229"/>
                </a:moveTo>
                <a:cubicBezTo>
                  <a:pt x="5221034" y="1066229"/>
                  <a:pt x="5064443" y="1215962"/>
                  <a:pt x="5064443" y="1456182"/>
                </a:cubicBezTo>
                <a:cubicBezTo>
                  <a:pt x="5064443" y="1696402"/>
                  <a:pt x="5216938" y="1834039"/>
                  <a:pt x="5465159" y="1834039"/>
                </a:cubicBezTo>
                <a:cubicBezTo>
                  <a:pt x="5686521" y="1834039"/>
                  <a:pt x="5821490" y="1751743"/>
                  <a:pt x="5860542" y="1596581"/>
                </a:cubicBezTo>
                <a:lnTo>
                  <a:pt x="5587937" y="1596581"/>
                </a:lnTo>
                <a:cubicBezTo>
                  <a:pt x="5574411" y="1634395"/>
                  <a:pt x="5536597" y="1656017"/>
                  <a:pt x="5481257" y="1656017"/>
                </a:cubicBezTo>
                <a:cubicBezTo>
                  <a:pt x="5398961" y="1656017"/>
                  <a:pt x="5351717" y="1604772"/>
                  <a:pt x="5349049" y="1512951"/>
                </a:cubicBezTo>
                <a:lnTo>
                  <a:pt x="5883402" y="1512951"/>
                </a:lnTo>
                <a:lnTo>
                  <a:pt x="5883402" y="1495425"/>
                </a:lnTo>
                <a:cubicBezTo>
                  <a:pt x="5883402" y="1225487"/>
                  <a:pt x="5729573" y="1066324"/>
                  <a:pt x="5475828" y="1066324"/>
                </a:cubicBezTo>
                <a:close/>
                <a:moveTo>
                  <a:pt x="5349240" y="1369790"/>
                </a:moveTo>
                <a:cubicBezTo>
                  <a:pt x="5353146" y="1284827"/>
                  <a:pt x="5399151" y="1236155"/>
                  <a:pt x="5473351" y="1236155"/>
                </a:cubicBezTo>
                <a:cubicBezTo>
                  <a:pt x="5554314" y="1236155"/>
                  <a:pt x="5597462" y="1280732"/>
                  <a:pt x="5602891" y="1369790"/>
                </a:cubicBezTo>
                <a:lnTo>
                  <a:pt x="5349240" y="1369790"/>
                </a:lnTo>
                <a:close/>
                <a:moveTo>
                  <a:pt x="6443377" y="1072896"/>
                </a:moveTo>
                <a:cubicBezTo>
                  <a:pt x="6327267" y="1072896"/>
                  <a:pt x="6258497" y="1117378"/>
                  <a:pt x="6220682" y="1222724"/>
                </a:cubicBezTo>
                <a:lnTo>
                  <a:pt x="6220682" y="1091756"/>
                </a:lnTo>
                <a:lnTo>
                  <a:pt x="5957507" y="1091756"/>
                </a:lnTo>
                <a:lnTo>
                  <a:pt x="5957507" y="1808417"/>
                </a:lnTo>
                <a:lnTo>
                  <a:pt x="6243543" y="1808417"/>
                </a:lnTo>
                <a:lnTo>
                  <a:pt x="6243543" y="1514285"/>
                </a:lnTo>
                <a:cubicBezTo>
                  <a:pt x="6243543" y="1403604"/>
                  <a:pt x="6296216" y="1353598"/>
                  <a:pt x="6410897" y="1353598"/>
                </a:cubicBezTo>
                <a:cubicBezTo>
                  <a:pt x="6428423" y="1353598"/>
                  <a:pt x="6447378" y="1355027"/>
                  <a:pt x="6468999" y="1357693"/>
                </a:cubicBezTo>
                <a:lnTo>
                  <a:pt x="6468999" y="1072896"/>
                </a:lnTo>
                <a:lnTo>
                  <a:pt x="6443377" y="1072896"/>
                </a:lnTo>
                <a:close/>
              </a:path>
            </a:pathLst>
          </a:custGeom>
          <a:solidFill>
            <a:schemeClr val="bg1"/>
          </a:solidFill>
          <a:ln w="9525" cap="flat">
            <a:noFill/>
            <a:prstDash val="solid"/>
            <a:miter/>
          </a:ln>
        </p:spPr>
        <p:txBody>
          <a:bodyPr rtlCol="0" anchor="ctr"/>
          <a:lstStyle/>
          <a:p>
            <a:endParaRPr lang="en-GB"/>
          </a:p>
        </p:txBody>
      </p:sp>
      <p:grpSp>
        <p:nvGrpSpPr>
          <p:cNvPr id="26" name="Group 25">
            <a:extLst>
              <a:ext uri="{FF2B5EF4-FFF2-40B4-BE49-F238E27FC236}">
                <a16:creationId xmlns:a16="http://schemas.microsoft.com/office/drawing/2014/main" id="{5651D2B8-1C5D-A4F4-476E-FFE3766A0232}"/>
              </a:ext>
            </a:extLst>
          </p:cNvPr>
          <p:cNvGrpSpPr/>
          <p:nvPr/>
        </p:nvGrpSpPr>
        <p:grpSpPr>
          <a:xfrm>
            <a:off x="6637136" y="6021388"/>
            <a:ext cx="5004002" cy="836612"/>
            <a:chOff x="6637136" y="6041708"/>
            <a:chExt cx="5004002" cy="836612"/>
          </a:xfrm>
        </p:grpSpPr>
        <p:grpSp>
          <p:nvGrpSpPr>
            <p:cNvPr id="8" name="Flag - Content Enablement">
              <a:extLst>
                <a:ext uri="{FF2B5EF4-FFF2-40B4-BE49-F238E27FC236}">
                  <a16:creationId xmlns:a16="http://schemas.microsoft.com/office/drawing/2014/main" id="{E5A9E3F4-D758-0DC0-B43E-BA938BF0DB42}"/>
                </a:ext>
              </a:extLst>
            </p:cNvPr>
            <p:cNvGrpSpPr/>
            <p:nvPr>
              <p:custDataLst>
                <p:tags r:id="rId4"/>
              </p:custDataLst>
            </p:nvPr>
          </p:nvGrpSpPr>
          <p:grpSpPr>
            <a:xfrm>
              <a:off x="10021137" y="6050320"/>
              <a:ext cx="1620001" cy="828000"/>
              <a:chOff x="10415206" y="4658215"/>
              <a:chExt cx="1620000" cy="828000"/>
            </a:xfrm>
          </p:grpSpPr>
          <p:pic>
            <p:nvPicPr>
              <p:cNvPr id="10" name="Picture 9" descr="A green and blue background with white text&#10;&#10;Description automatically generated">
                <a:extLst>
                  <a:ext uri="{FF2B5EF4-FFF2-40B4-BE49-F238E27FC236}">
                    <a16:creationId xmlns:a16="http://schemas.microsoft.com/office/drawing/2014/main" id="{900E278E-CDC7-AE05-C625-A0DAC38B1F00}"/>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0415206" y="4658215"/>
                <a:ext cx="1620000" cy="826915"/>
              </a:xfrm>
              <a:prstGeom prst="rect">
                <a:avLst/>
              </a:prstGeom>
            </p:spPr>
          </p:pic>
          <p:sp>
            <p:nvSpPr>
              <p:cNvPr id="11" name="Rectangle 10">
                <a:extLst>
                  <a:ext uri="{FF2B5EF4-FFF2-40B4-BE49-F238E27FC236}">
                    <a16:creationId xmlns:a16="http://schemas.microsoft.com/office/drawing/2014/main" id="{2C7487DE-C82B-DFBB-B4A9-C4E139187DC9}"/>
                  </a:ext>
                </a:extLst>
              </p:cNvPr>
              <p:cNvSpPr/>
              <p:nvPr>
                <p:custDataLst>
                  <p:tags r:id="rId11"/>
                </p:custDataLst>
              </p:nvPr>
            </p:nvSpPr>
            <p:spPr>
              <a:xfrm>
                <a:off x="10415206" y="4910215"/>
                <a:ext cx="1283320" cy="576000"/>
              </a:xfrm>
              <a:prstGeom prst="rect">
                <a:avLst/>
              </a:prstGeom>
              <a:solidFill>
                <a:schemeClr val="accent6"/>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defTabSz="486000">
                  <a:lnSpc>
                    <a:spcPct val="100000"/>
                  </a:lnSpc>
                  <a:spcAft>
                    <a:spcPct val="0"/>
                  </a:spcAft>
                </a:pPr>
                <a:r>
                  <a:rPr lang="en-GB" sz="1600">
                    <a:solidFill>
                      <a:schemeClr val="bg1"/>
                    </a:solidFill>
                    <a:latin typeface="Segoe UI Semibold" panose="020B0502040204020203" pitchFamily="34" charset="0"/>
                  </a:rPr>
                  <a:t>Content</a:t>
                </a:r>
                <a:br>
                  <a:rPr lang="en-GB" sz="1600">
                    <a:solidFill>
                      <a:schemeClr val="bg1"/>
                    </a:solidFill>
                    <a:latin typeface="Segoe UI Semibold" panose="020B0502040204020203" pitchFamily="34" charset="0"/>
                  </a:rPr>
                </a:br>
                <a:r>
                  <a:rPr lang="en-GB" sz="1600">
                    <a:solidFill>
                      <a:schemeClr val="bg1"/>
                    </a:solidFill>
                    <a:latin typeface="Segoe UI Semibold" panose="020B0502040204020203" pitchFamily="34" charset="0"/>
                  </a:rPr>
                  <a:t>Enablement</a:t>
                </a:r>
              </a:p>
            </p:txBody>
          </p:sp>
          <p:pic>
            <p:nvPicPr>
              <p:cNvPr id="12" name="Picture 11">
                <a:extLst>
                  <a:ext uri="{FF2B5EF4-FFF2-40B4-BE49-F238E27FC236}">
                    <a16:creationId xmlns:a16="http://schemas.microsoft.com/office/drawing/2014/main" id="{335FD98F-5191-8B42-26E0-7FB9B2C10C76}"/>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1533254" y="4740403"/>
                <a:ext cx="457715" cy="432000"/>
              </a:xfrm>
              <a:prstGeom prst="rect">
                <a:avLst/>
              </a:prstGeom>
            </p:spPr>
          </p:pic>
        </p:grpSp>
        <p:grpSp>
          <p:nvGrpSpPr>
            <p:cNvPr id="13" name="Flag - Content Creation">
              <a:extLst>
                <a:ext uri="{FF2B5EF4-FFF2-40B4-BE49-F238E27FC236}">
                  <a16:creationId xmlns:a16="http://schemas.microsoft.com/office/drawing/2014/main" id="{75E7B4F2-159B-3A29-2B00-0CF76AB1C116}"/>
                </a:ext>
              </a:extLst>
            </p:cNvPr>
            <p:cNvGrpSpPr/>
            <p:nvPr>
              <p:custDataLst>
                <p:tags r:id="rId5"/>
              </p:custDataLst>
            </p:nvPr>
          </p:nvGrpSpPr>
          <p:grpSpPr>
            <a:xfrm>
              <a:off x="8329136" y="6050320"/>
              <a:ext cx="1620001" cy="828000"/>
              <a:chOff x="6950671" y="6207845"/>
              <a:chExt cx="1620000" cy="828000"/>
            </a:xfrm>
          </p:grpSpPr>
          <p:grpSp>
            <p:nvGrpSpPr>
              <p:cNvPr id="14" name="Flag - Content Creation">
                <a:extLst>
                  <a:ext uri="{FF2B5EF4-FFF2-40B4-BE49-F238E27FC236}">
                    <a16:creationId xmlns:a16="http://schemas.microsoft.com/office/drawing/2014/main" id="{A0283EC6-8E4E-8DB0-B14C-B53A1A2C9C1C}"/>
                  </a:ext>
                </a:extLst>
              </p:cNvPr>
              <p:cNvGrpSpPr/>
              <p:nvPr>
                <p:custDataLst>
                  <p:tags r:id="rId9"/>
                </p:custDataLst>
              </p:nvPr>
            </p:nvGrpSpPr>
            <p:grpSpPr>
              <a:xfrm>
                <a:off x="6950671" y="6207845"/>
                <a:ext cx="1620000" cy="828000"/>
                <a:chOff x="4977038" y="2467936"/>
                <a:chExt cx="1620000" cy="828000"/>
              </a:xfrm>
            </p:grpSpPr>
            <p:pic>
              <p:nvPicPr>
                <p:cNvPr id="16" name="Picture 15" descr="A orange background with white text&#10;&#10;Description automatically generated">
                  <a:extLst>
                    <a:ext uri="{FF2B5EF4-FFF2-40B4-BE49-F238E27FC236}">
                      <a16:creationId xmlns:a16="http://schemas.microsoft.com/office/drawing/2014/main" id="{0F888CC3-B7EA-2F09-41F8-D898E7C74793}"/>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977038" y="2467936"/>
                  <a:ext cx="1620000" cy="826915"/>
                </a:xfrm>
                <a:prstGeom prst="rect">
                  <a:avLst/>
                </a:prstGeom>
              </p:spPr>
            </p:pic>
            <p:sp>
              <p:nvSpPr>
                <p:cNvPr id="18" name="Rectangle 17">
                  <a:extLst>
                    <a:ext uri="{FF2B5EF4-FFF2-40B4-BE49-F238E27FC236}">
                      <a16:creationId xmlns:a16="http://schemas.microsoft.com/office/drawing/2014/main" id="{7FD3A566-1A6A-7EC4-553A-5A916E91BA7A}"/>
                    </a:ext>
                  </a:extLst>
                </p:cNvPr>
                <p:cNvSpPr/>
                <p:nvPr>
                  <p:custDataLst>
                    <p:tags r:id="rId10"/>
                  </p:custDataLst>
                </p:nvPr>
              </p:nvSpPr>
              <p:spPr>
                <a:xfrm>
                  <a:off x="4977038" y="2719936"/>
                  <a:ext cx="1008000" cy="576000"/>
                </a:xfrm>
                <a:prstGeom prst="rect">
                  <a:avLst/>
                </a:prstGeom>
                <a:solidFill>
                  <a:schemeClr val="accent4"/>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defTabSz="486000">
                    <a:lnSpc>
                      <a:spcPct val="100000"/>
                    </a:lnSpc>
                    <a:spcAft>
                      <a:spcPct val="0"/>
                    </a:spcAft>
                  </a:pPr>
                  <a:r>
                    <a:rPr lang="en-GB" sz="1600">
                      <a:solidFill>
                        <a:schemeClr val="bg1"/>
                      </a:solidFill>
                      <a:latin typeface="Segoe UI Semibold" panose="020B0502040204020203" pitchFamily="34" charset="0"/>
                    </a:rPr>
                    <a:t>Content Creation</a:t>
                  </a:r>
                </a:p>
              </p:txBody>
            </p:sp>
          </p:grpSp>
          <p:pic>
            <p:nvPicPr>
              <p:cNvPr id="15" name="Picture 14">
                <a:extLst>
                  <a:ext uri="{FF2B5EF4-FFF2-40B4-BE49-F238E27FC236}">
                    <a16:creationId xmlns:a16="http://schemas.microsoft.com/office/drawing/2014/main" id="{7D12AAE8-523D-C571-AA63-639E04DB2DA4}"/>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8081707" y="6295349"/>
                <a:ext cx="432000" cy="347945"/>
              </a:xfrm>
              <a:prstGeom prst="rect">
                <a:avLst/>
              </a:prstGeom>
            </p:spPr>
          </p:pic>
        </p:grpSp>
        <p:grpSp>
          <p:nvGrpSpPr>
            <p:cNvPr id="19" name="Flag - Brand Control">
              <a:extLst>
                <a:ext uri="{FF2B5EF4-FFF2-40B4-BE49-F238E27FC236}">
                  <a16:creationId xmlns:a16="http://schemas.microsoft.com/office/drawing/2014/main" id="{768CE458-9FDC-F92D-C8B6-C0EFF94A275A}"/>
                </a:ext>
              </a:extLst>
            </p:cNvPr>
            <p:cNvGrpSpPr/>
            <p:nvPr>
              <p:custDataLst>
                <p:tags r:id="rId6"/>
              </p:custDataLst>
            </p:nvPr>
          </p:nvGrpSpPr>
          <p:grpSpPr>
            <a:xfrm>
              <a:off x="6637136" y="6041708"/>
              <a:ext cx="1620001" cy="836612"/>
              <a:chOff x="5329511" y="5778000"/>
              <a:chExt cx="1620000" cy="836612"/>
            </a:xfrm>
          </p:grpSpPr>
          <p:grpSp>
            <p:nvGrpSpPr>
              <p:cNvPr id="21" name="Flag - Brand Control">
                <a:extLst>
                  <a:ext uri="{FF2B5EF4-FFF2-40B4-BE49-F238E27FC236}">
                    <a16:creationId xmlns:a16="http://schemas.microsoft.com/office/drawing/2014/main" id="{76E87A5F-E2B3-B396-6634-384B0A72F7B4}"/>
                  </a:ext>
                </a:extLst>
              </p:cNvPr>
              <p:cNvGrpSpPr/>
              <p:nvPr>
                <p:custDataLst>
                  <p:tags r:id="rId7"/>
                </p:custDataLst>
              </p:nvPr>
            </p:nvGrpSpPr>
            <p:grpSpPr>
              <a:xfrm>
                <a:off x="5329511" y="5778000"/>
                <a:ext cx="1620000" cy="836612"/>
                <a:chOff x="8320838" y="1780869"/>
                <a:chExt cx="1620000" cy="836612"/>
              </a:xfrm>
            </p:grpSpPr>
            <p:pic>
              <p:nvPicPr>
                <p:cNvPr id="23" name="Picture 22" descr="A blue background with white text&#10;&#10;Description automatically generated">
                  <a:extLst>
                    <a:ext uri="{FF2B5EF4-FFF2-40B4-BE49-F238E27FC236}">
                      <a16:creationId xmlns:a16="http://schemas.microsoft.com/office/drawing/2014/main" id="{D1DFB9E4-4AD9-E414-1372-5672F8F60742}"/>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8320838" y="1780869"/>
                  <a:ext cx="1620000" cy="836612"/>
                </a:xfrm>
                <a:prstGeom prst="rect">
                  <a:avLst/>
                </a:prstGeom>
              </p:spPr>
            </p:pic>
            <p:sp>
              <p:nvSpPr>
                <p:cNvPr id="24" name="Rectangle 23">
                  <a:extLst>
                    <a:ext uri="{FF2B5EF4-FFF2-40B4-BE49-F238E27FC236}">
                      <a16:creationId xmlns:a16="http://schemas.microsoft.com/office/drawing/2014/main" id="{6B2C8A6E-5DF0-22EA-5B09-EFECA4F0B96C}"/>
                    </a:ext>
                  </a:extLst>
                </p:cNvPr>
                <p:cNvSpPr/>
                <p:nvPr>
                  <p:custDataLst>
                    <p:tags r:id="rId8"/>
                  </p:custDataLst>
                </p:nvPr>
              </p:nvSpPr>
              <p:spPr>
                <a:xfrm>
                  <a:off x="8320838" y="2031784"/>
                  <a:ext cx="1008000" cy="576000"/>
                </a:xfrm>
                <a:prstGeom prst="rect">
                  <a:avLst/>
                </a:prstGeom>
                <a:solidFill>
                  <a:schemeClr val="accent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defTabSz="486000">
                    <a:lnSpc>
                      <a:spcPct val="100000"/>
                    </a:lnSpc>
                    <a:spcAft>
                      <a:spcPct val="0"/>
                    </a:spcAft>
                  </a:pPr>
                  <a:r>
                    <a:rPr lang="en-GB" sz="1600">
                      <a:solidFill>
                        <a:schemeClr val="bg1"/>
                      </a:solidFill>
                      <a:latin typeface="Segoe UI Semibold" panose="020B0502040204020203" pitchFamily="34" charset="0"/>
                    </a:rPr>
                    <a:t>Brand Control</a:t>
                  </a:r>
                </a:p>
              </p:txBody>
            </p:sp>
          </p:grpSp>
          <p:pic>
            <p:nvPicPr>
              <p:cNvPr id="22" name="Picture 21">
                <a:extLst>
                  <a:ext uri="{FF2B5EF4-FFF2-40B4-BE49-F238E27FC236}">
                    <a16:creationId xmlns:a16="http://schemas.microsoft.com/office/drawing/2014/main" id="{B4889CE9-823F-37F6-BBBD-8ED5B9FDB10C}"/>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6535538" y="5877103"/>
                <a:ext cx="375454" cy="396000"/>
              </a:xfrm>
              <a:prstGeom prst="rect">
                <a:avLst/>
              </a:prstGeom>
            </p:spPr>
          </p:pic>
        </p:grpSp>
      </p:grpSp>
    </p:spTree>
    <p:custDataLst>
      <p:tags r:id="rId1"/>
    </p:custDataLst>
    <p:extLst>
      <p:ext uri="{BB962C8B-B14F-4D97-AF65-F5344CB8AC3E}">
        <p14:creationId xmlns:p14="http://schemas.microsoft.com/office/powerpoint/2010/main" val="3737223885"/>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B7FC77D-5C58-A5E9-63C1-815405D6C52B}"/>
              </a:ext>
            </a:extLst>
          </p:cNvPr>
          <p:cNvSpPr>
            <a:spLocks noGrp="1"/>
          </p:cNvSpPr>
          <p:nvPr>
            <p:ph type="subTitle" idx="1"/>
          </p:nvPr>
        </p:nvSpPr>
        <p:spPr/>
        <p:txBody>
          <a:bodyPr/>
          <a:lstStyle/>
          <a:p>
            <a:r>
              <a:rPr lang="en-GB"/>
              <a:t>01</a:t>
            </a:r>
          </a:p>
        </p:txBody>
      </p:sp>
      <p:sp>
        <p:nvSpPr>
          <p:cNvPr id="2" name="Title 1">
            <a:extLst>
              <a:ext uri="{FF2B5EF4-FFF2-40B4-BE49-F238E27FC236}">
                <a16:creationId xmlns:a16="http://schemas.microsoft.com/office/drawing/2014/main" id="{51351A49-07B3-FED9-5529-2B10888BBE27}"/>
              </a:ext>
            </a:extLst>
          </p:cNvPr>
          <p:cNvSpPr>
            <a:spLocks noGrp="1"/>
          </p:cNvSpPr>
          <p:nvPr>
            <p:ph type="title"/>
          </p:nvPr>
        </p:nvSpPr>
        <p:spPr>
          <a:xfrm>
            <a:off x="3454400" y="838799"/>
            <a:ext cx="5751593" cy="2641601"/>
          </a:xfrm>
        </p:spPr>
        <p:txBody>
          <a:bodyPr/>
          <a:lstStyle/>
          <a:p>
            <a:r>
              <a:rPr lang="en-GB" dirty="0"/>
              <a:t>empower® Express Lite Overview</a:t>
            </a:r>
          </a:p>
        </p:txBody>
      </p:sp>
    </p:spTree>
    <p:custDataLst>
      <p:tags r:id="rId1"/>
    </p:custDataLst>
    <p:extLst>
      <p:ext uri="{BB962C8B-B14F-4D97-AF65-F5344CB8AC3E}">
        <p14:creationId xmlns:p14="http://schemas.microsoft.com/office/powerpoint/2010/main" val="592115840"/>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A09A178F-08BD-4B5F-BEB9-A50176BECD77}"/>
              </a:ext>
            </a:extLst>
          </p:cNvPr>
          <p:cNvCxnSpPr/>
          <p:nvPr/>
        </p:nvCxnSpPr>
        <p:spPr>
          <a:xfrm>
            <a:off x="6098190" y="2619015"/>
            <a:ext cx="1" cy="2541118"/>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89D824D4-3519-463B-A95B-0593B21C2B34}"/>
              </a:ext>
            </a:extLst>
          </p:cNvPr>
          <p:cNvGrpSpPr/>
          <p:nvPr/>
        </p:nvGrpSpPr>
        <p:grpSpPr>
          <a:xfrm>
            <a:off x="556374" y="2511706"/>
            <a:ext cx="11083626" cy="2963119"/>
            <a:chOff x="442913" y="2564751"/>
            <a:chExt cx="11306170" cy="2879998"/>
          </a:xfrm>
        </p:grpSpPr>
        <p:sp>
          <p:nvSpPr>
            <p:cNvPr id="60" name="Isosceles Triangle 59">
              <a:extLst>
                <a:ext uri="{FF2B5EF4-FFF2-40B4-BE49-F238E27FC236}">
                  <a16:creationId xmlns:a16="http://schemas.microsoft.com/office/drawing/2014/main" id="{E0E96A15-8B81-4F9E-AEBD-A8D661AC29A7}"/>
                </a:ext>
              </a:extLst>
            </p:cNvPr>
            <p:cNvSpPr/>
            <p:nvPr/>
          </p:nvSpPr>
          <p:spPr>
            <a:xfrm flipH="1">
              <a:off x="442913" y="2564751"/>
              <a:ext cx="11306170" cy="1381325"/>
            </a:xfrm>
            <a:prstGeom prst="triangle">
              <a:avLst/>
            </a:prstGeom>
            <a:solidFill>
              <a:srgbClr val="DEE4EA"/>
            </a:solidFill>
            <a:ln>
              <a:noFill/>
            </a:ln>
          </p:spPr>
          <p:txBody>
            <a:bodyPr wrap="square" lIns="0" tIns="0" rIns="0" bIns="0" rtlCol="0" anchor="ctr">
              <a:noAutofit/>
            </a:bodyPr>
            <a:lstStyle/>
            <a:p>
              <a:pPr algn="ctr"/>
              <a:endParaRPr lang="en-GB">
                <a:solidFill>
                  <a:schemeClr val="bg1"/>
                </a:solidFill>
                <a:latin typeface="Segoe UI Semibold" panose="020B0502040204020203" pitchFamily="34" charset="0"/>
              </a:endParaRPr>
            </a:p>
          </p:txBody>
        </p:sp>
        <p:sp>
          <p:nvSpPr>
            <p:cNvPr id="38" name="Isosceles Triangle 37">
              <a:extLst>
                <a:ext uri="{FF2B5EF4-FFF2-40B4-BE49-F238E27FC236}">
                  <a16:creationId xmlns:a16="http://schemas.microsoft.com/office/drawing/2014/main" id="{0F2781E4-52CA-4C7A-8F78-384C5A9B9D05}"/>
                </a:ext>
              </a:extLst>
            </p:cNvPr>
            <p:cNvSpPr/>
            <p:nvPr/>
          </p:nvSpPr>
          <p:spPr>
            <a:xfrm flipH="1" flipV="1">
              <a:off x="442913" y="4063424"/>
              <a:ext cx="11306170" cy="1381325"/>
            </a:xfrm>
            <a:prstGeom prst="triangle">
              <a:avLst/>
            </a:prstGeom>
            <a:solidFill>
              <a:srgbClr val="DEE4EA"/>
            </a:solidFill>
            <a:ln>
              <a:noFill/>
            </a:ln>
          </p:spPr>
          <p:txBody>
            <a:bodyPr wrap="square" lIns="0" tIns="0" rIns="0" bIns="0" rtlCol="0" anchor="ctr">
              <a:noAutofit/>
            </a:bodyPr>
            <a:lstStyle/>
            <a:p>
              <a:pPr algn="ctr"/>
              <a:endParaRPr lang="en-GB">
                <a:solidFill>
                  <a:schemeClr val="bg1"/>
                </a:solidFill>
                <a:latin typeface="Segoe UI Semibold" panose="020B0502040204020203" pitchFamily="34" charset="0"/>
              </a:endParaRPr>
            </a:p>
          </p:txBody>
        </p:sp>
      </p:grpSp>
      <p:sp>
        <p:nvSpPr>
          <p:cNvPr id="4" name="Title 3">
            <a:extLst>
              <a:ext uri="{FF2B5EF4-FFF2-40B4-BE49-F238E27FC236}">
                <a16:creationId xmlns:a16="http://schemas.microsoft.com/office/drawing/2014/main" id="{B5A44335-5B0B-405A-A4E2-7679897C958F}"/>
              </a:ext>
            </a:extLst>
          </p:cNvPr>
          <p:cNvSpPr>
            <a:spLocks noGrp="1"/>
          </p:cNvSpPr>
          <p:nvPr>
            <p:ph type="title"/>
          </p:nvPr>
        </p:nvSpPr>
        <p:spPr/>
        <p:txBody>
          <a:bodyPr/>
          <a:lstStyle/>
          <a:p>
            <a:r>
              <a:rPr lang="en-GB"/>
              <a:t>How does it work?</a:t>
            </a:r>
          </a:p>
        </p:txBody>
      </p:sp>
      <p:sp>
        <p:nvSpPr>
          <p:cNvPr id="7" name="TextBox 6">
            <a:extLst>
              <a:ext uri="{FF2B5EF4-FFF2-40B4-BE49-F238E27FC236}">
                <a16:creationId xmlns:a16="http://schemas.microsoft.com/office/drawing/2014/main" id="{75EDBCA9-1EC8-43D5-8F04-3A45CE20B32F}"/>
              </a:ext>
            </a:extLst>
          </p:cNvPr>
          <p:cNvSpPr txBox="1"/>
          <p:nvPr>
            <p:custDataLst>
              <p:tags r:id="rId2"/>
            </p:custDataLst>
          </p:nvPr>
        </p:nvSpPr>
        <p:spPr>
          <a:xfrm>
            <a:off x="571557" y="1722172"/>
            <a:ext cx="11053265" cy="934915"/>
          </a:xfrm>
          <a:prstGeom prst="round2SameRect">
            <a:avLst/>
          </a:prstGeom>
          <a:solidFill>
            <a:schemeClr val="accent1"/>
          </a:solidFill>
          <a:ln>
            <a:noFill/>
          </a:ln>
          <a:effectLst/>
        </p:spPr>
        <p:txBody>
          <a:bodyPr wrap="square" rtlCol="0" anchor="ctr">
            <a:spAutoFit/>
          </a:bodyPr>
          <a:lstStyle/>
          <a:p>
            <a:pPr algn="ctr">
              <a:lnSpc>
                <a:spcPct val="110000"/>
              </a:lnSpc>
            </a:pPr>
            <a:r>
              <a:rPr lang="en-GB" sz="1600" dirty="0">
                <a:solidFill>
                  <a:schemeClr val="bg1"/>
                </a:solidFill>
                <a:latin typeface="Segoe UI Semibold" panose="020B0502040204020203" pitchFamily="34" charset="0"/>
              </a:rPr>
              <a:t>empower® Express</a:t>
            </a:r>
            <a:r>
              <a:rPr lang="en-GB" sz="1600" dirty="0">
                <a:solidFill>
                  <a:schemeClr val="bg1"/>
                </a:solidFill>
              </a:rPr>
              <a:t>, a seamlessly integrated PowerPoint add-in, </a:t>
            </a:r>
            <a:br>
              <a:rPr lang="en-GB" sz="1600" dirty="0">
                <a:solidFill>
                  <a:schemeClr val="bg1"/>
                </a:solidFill>
              </a:rPr>
            </a:br>
            <a:r>
              <a:rPr lang="en-GB" sz="1600" dirty="0">
                <a:solidFill>
                  <a:schemeClr val="bg1"/>
                </a:solidFill>
              </a:rPr>
              <a:t>designed to make it easier, faster and more effective</a:t>
            </a:r>
            <a:br>
              <a:rPr lang="en-GB" sz="1600" dirty="0">
                <a:solidFill>
                  <a:schemeClr val="bg1"/>
                </a:solidFill>
              </a:rPr>
            </a:br>
            <a:r>
              <a:rPr lang="en-GB" sz="1600" dirty="0">
                <a:solidFill>
                  <a:schemeClr val="bg1"/>
                </a:solidFill>
              </a:rPr>
              <a:t>to create better, more impactful presentations</a:t>
            </a:r>
          </a:p>
        </p:txBody>
      </p:sp>
      <p:sp>
        <p:nvSpPr>
          <p:cNvPr id="13" name="TextBox 12">
            <a:extLst>
              <a:ext uri="{FF2B5EF4-FFF2-40B4-BE49-F238E27FC236}">
                <a16:creationId xmlns:a16="http://schemas.microsoft.com/office/drawing/2014/main" id="{CDDD9DCF-C184-476C-BAE1-532AD0743D59}"/>
              </a:ext>
            </a:extLst>
          </p:cNvPr>
          <p:cNvSpPr txBox="1"/>
          <p:nvPr>
            <p:custDataLst>
              <p:tags r:id="rId3"/>
            </p:custDataLst>
          </p:nvPr>
        </p:nvSpPr>
        <p:spPr>
          <a:xfrm>
            <a:off x="4589032" y="2750833"/>
            <a:ext cx="3018314" cy="340735"/>
          </a:xfrm>
          <a:prstGeom prst="rect">
            <a:avLst/>
          </a:prstGeom>
          <a:noFill/>
          <a:ln>
            <a:noFill/>
          </a:ln>
        </p:spPr>
        <p:txBody>
          <a:bodyPr wrap="square" lIns="90000" tIns="46800" rIns="90000" bIns="46800" rtlCol="0">
            <a:spAutoFit/>
          </a:bodyPr>
          <a:lstStyle/>
          <a:p>
            <a:pPr algn="ctr"/>
            <a:r>
              <a:rPr lang="en-GB" sz="1600">
                <a:solidFill>
                  <a:schemeClr val="accent1"/>
                </a:solidFill>
                <a:latin typeface="Segoe UI Semibold" panose="020B0502040204020203" pitchFamily="34" charset="0"/>
              </a:rPr>
              <a:t>Four sets of tools</a:t>
            </a:r>
          </a:p>
        </p:txBody>
      </p:sp>
      <p:grpSp>
        <p:nvGrpSpPr>
          <p:cNvPr id="9" name="Group 8">
            <a:extLst>
              <a:ext uri="{FF2B5EF4-FFF2-40B4-BE49-F238E27FC236}">
                <a16:creationId xmlns:a16="http://schemas.microsoft.com/office/drawing/2014/main" id="{40C88CF6-2D13-4B8E-A7B6-E00B4CA110A6}"/>
              </a:ext>
            </a:extLst>
          </p:cNvPr>
          <p:cNvGrpSpPr>
            <a:grpSpLocks noChangeAspect="1"/>
          </p:cNvGrpSpPr>
          <p:nvPr/>
        </p:nvGrpSpPr>
        <p:grpSpPr>
          <a:xfrm>
            <a:off x="552000" y="3165887"/>
            <a:ext cx="2449075" cy="1014617"/>
            <a:chOff x="458399" y="3016847"/>
            <a:chExt cx="2520000" cy="1044000"/>
          </a:xfrm>
        </p:grpSpPr>
        <p:sp>
          <p:nvSpPr>
            <p:cNvPr id="51" name="TextBox 50">
              <a:extLst>
                <a:ext uri="{FF2B5EF4-FFF2-40B4-BE49-F238E27FC236}">
                  <a16:creationId xmlns:a16="http://schemas.microsoft.com/office/drawing/2014/main" id="{6A702F8B-0E5C-413D-920E-A963F11E346B}"/>
                </a:ext>
              </a:extLst>
            </p:cNvPr>
            <p:cNvSpPr txBox="1"/>
            <p:nvPr/>
          </p:nvSpPr>
          <p:spPr>
            <a:xfrm>
              <a:off x="458399" y="3016847"/>
              <a:ext cx="2520000" cy="1044000"/>
            </a:xfrm>
            <a:prstGeom prst="rect">
              <a:avLst/>
            </a:prstGeom>
            <a:solidFill>
              <a:schemeClr val="accent2"/>
            </a:solidFill>
            <a:ln w="12700">
              <a:solidFill>
                <a:schemeClr val="bg1"/>
              </a:solidFill>
            </a:ln>
          </p:spPr>
          <p:txBody>
            <a:bodyPr wrap="square" lIns="684000" tIns="46800" rIns="90000" bIns="46800" rtlCol="0" anchor="ctr">
              <a:noAutofit/>
            </a:bodyPr>
            <a:lstStyle/>
            <a:p>
              <a:r>
                <a:rPr lang="en-GB" sz="1600">
                  <a:solidFill>
                    <a:schemeClr val="bg1"/>
                  </a:solidFill>
                </a:rPr>
                <a:t>Company</a:t>
              </a:r>
              <a:br>
                <a:rPr lang="en-GB" sz="1600">
                  <a:solidFill>
                    <a:schemeClr val="bg1"/>
                  </a:solidFill>
                </a:rPr>
              </a:br>
              <a:r>
                <a:rPr lang="en-GB" sz="1600">
                  <a:solidFill>
                    <a:schemeClr val="bg1"/>
                  </a:solidFill>
                </a:rPr>
                <a:t>content</a:t>
              </a:r>
              <a:br>
                <a:rPr lang="en-GB" sz="1600">
                  <a:solidFill>
                    <a:schemeClr val="bg1"/>
                  </a:solidFill>
                </a:rPr>
              </a:br>
              <a:r>
                <a:rPr lang="en-GB" sz="1600">
                  <a:solidFill>
                    <a:schemeClr val="bg1"/>
                  </a:solidFill>
                </a:rPr>
                <a:t>library</a:t>
              </a:r>
            </a:p>
          </p:txBody>
        </p:sp>
        <p:sp>
          <p:nvSpPr>
            <p:cNvPr id="25" name="Oval 24">
              <a:extLst>
                <a:ext uri="{FF2B5EF4-FFF2-40B4-BE49-F238E27FC236}">
                  <a16:creationId xmlns:a16="http://schemas.microsoft.com/office/drawing/2014/main" id="{AD0BFD6E-334C-43EB-BC1C-7BA385D501C3}"/>
                </a:ext>
              </a:extLst>
            </p:cNvPr>
            <p:cNvSpPr/>
            <p:nvPr/>
          </p:nvSpPr>
          <p:spPr>
            <a:xfrm>
              <a:off x="563640" y="3322848"/>
              <a:ext cx="431999" cy="431999"/>
            </a:xfrm>
            <a:prstGeom prst="ellipse">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bg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a:r>
                <a:rPr lang="en-GB" b="1">
                  <a:solidFill>
                    <a:schemeClr val="accent2"/>
                  </a:solidFill>
                </a:rPr>
                <a:t>1</a:t>
              </a:r>
            </a:p>
          </p:txBody>
        </p:sp>
        <p:pic>
          <p:nvPicPr>
            <p:cNvPr id="26" name="Graphic 25">
              <a:extLst>
                <a:ext uri="{FF2B5EF4-FFF2-40B4-BE49-F238E27FC236}">
                  <a16:creationId xmlns:a16="http://schemas.microsoft.com/office/drawing/2014/main" id="{C7F7228C-244C-4EB8-865C-87FA82D53DBE}"/>
                </a:ext>
              </a:extLst>
            </p:cNvPr>
            <p:cNvPicPr>
              <a:picLocks noChangeAspect="1"/>
            </p:cNvPicPr>
            <p:nvPr/>
          </p:nvPicPr>
          <p:blipFill>
            <a:blip r:embed="rId30">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2244145" y="3300440"/>
              <a:ext cx="477086" cy="476814"/>
            </a:xfrm>
            <a:prstGeom prst="rect">
              <a:avLst/>
            </a:prstGeom>
          </p:spPr>
        </p:pic>
      </p:grpSp>
      <p:grpSp>
        <p:nvGrpSpPr>
          <p:cNvPr id="8" name="Group 7">
            <a:extLst>
              <a:ext uri="{FF2B5EF4-FFF2-40B4-BE49-F238E27FC236}">
                <a16:creationId xmlns:a16="http://schemas.microsoft.com/office/drawing/2014/main" id="{2085BB47-6E1E-4E40-A9B6-DBB25618885B}"/>
              </a:ext>
            </a:extLst>
          </p:cNvPr>
          <p:cNvGrpSpPr>
            <a:grpSpLocks noChangeAspect="1"/>
          </p:cNvGrpSpPr>
          <p:nvPr/>
        </p:nvGrpSpPr>
        <p:grpSpPr>
          <a:xfrm>
            <a:off x="3421264" y="3165887"/>
            <a:ext cx="2449075" cy="1014617"/>
            <a:chOff x="3374399" y="3016847"/>
            <a:chExt cx="2520000" cy="1044000"/>
          </a:xfrm>
        </p:grpSpPr>
        <p:sp>
          <p:nvSpPr>
            <p:cNvPr id="67" name="TextBox 66">
              <a:extLst>
                <a:ext uri="{FF2B5EF4-FFF2-40B4-BE49-F238E27FC236}">
                  <a16:creationId xmlns:a16="http://schemas.microsoft.com/office/drawing/2014/main" id="{6C491A62-B3E3-4229-ADDE-D9582E1EDFF3}"/>
                </a:ext>
              </a:extLst>
            </p:cNvPr>
            <p:cNvSpPr txBox="1"/>
            <p:nvPr/>
          </p:nvSpPr>
          <p:spPr>
            <a:xfrm>
              <a:off x="3374399" y="3016847"/>
              <a:ext cx="2520000" cy="1044000"/>
            </a:xfrm>
            <a:prstGeom prst="rect">
              <a:avLst/>
            </a:prstGeom>
            <a:solidFill>
              <a:schemeClr val="accent2"/>
            </a:solidFill>
            <a:ln w="12700">
              <a:solidFill>
                <a:schemeClr val="bg1"/>
              </a:solidFill>
            </a:ln>
          </p:spPr>
          <p:txBody>
            <a:bodyPr wrap="square" lIns="684000" tIns="46800" rIns="90000" bIns="46800" rtlCol="0" anchor="ctr">
              <a:noAutofit/>
            </a:bodyPr>
            <a:lstStyle>
              <a:defPPr>
                <a:defRPr lang="en-PT"/>
              </a:defPPr>
              <a:lvl1pPr>
                <a:defRPr sz="1600">
                  <a:solidFill>
                    <a:schemeClr val="bg1"/>
                  </a:solidFill>
                </a:defRPr>
              </a:lvl1pPr>
            </a:lstStyle>
            <a:p>
              <a:r>
                <a:rPr lang="en-GB"/>
                <a:t>Graphic</a:t>
              </a:r>
              <a:br>
                <a:rPr lang="en-GB"/>
              </a:br>
              <a:r>
                <a:rPr lang="en-GB"/>
                <a:t>resource</a:t>
              </a:r>
              <a:br>
                <a:rPr lang="en-GB"/>
              </a:br>
              <a:r>
                <a:rPr lang="en-GB"/>
                <a:t>library</a:t>
              </a:r>
            </a:p>
          </p:txBody>
        </p:sp>
        <p:sp>
          <p:nvSpPr>
            <p:cNvPr id="23" name="Rectangle: Rounded Corners 22">
              <a:extLst>
                <a:ext uri="{FF2B5EF4-FFF2-40B4-BE49-F238E27FC236}">
                  <a16:creationId xmlns:a16="http://schemas.microsoft.com/office/drawing/2014/main" id="{20686898-8580-4DBB-8184-8A4FFC235638}"/>
                </a:ext>
              </a:extLst>
            </p:cNvPr>
            <p:cNvSpPr/>
            <p:nvPr/>
          </p:nvSpPr>
          <p:spPr>
            <a:xfrm>
              <a:off x="3490397" y="3322848"/>
              <a:ext cx="431999" cy="431999"/>
            </a:xfrm>
            <a:prstGeom prst="round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bg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a:r>
                <a:rPr lang="en-GB" b="1">
                  <a:solidFill>
                    <a:schemeClr val="accent2"/>
                  </a:solidFill>
                </a:rPr>
                <a:t>2</a:t>
              </a:r>
            </a:p>
          </p:txBody>
        </p:sp>
        <p:pic>
          <p:nvPicPr>
            <p:cNvPr id="24" name="Graphic 23">
              <a:extLst>
                <a:ext uri="{FF2B5EF4-FFF2-40B4-BE49-F238E27FC236}">
                  <a16:creationId xmlns:a16="http://schemas.microsoft.com/office/drawing/2014/main" id="{6C53D091-D674-4DF2-A772-76423DAE03FD}"/>
                </a:ext>
              </a:extLst>
            </p:cNvPr>
            <p:cNvPicPr>
              <a:picLocks noChangeAspect="1"/>
            </p:cNvPicPr>
            <p:nvPr/>
          </p:nvPicPr>
          <p:blipFill>
            <a:blip r:embed="rId32">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5136139" y="3300440"/>
              <a:ext cx="477086" cy="476814"/>
            </a:xfrm>
            <a:prstGeom prst="rect">
              <a:avLst/>
            </a:prstGeom>
          </p:spPr>
        </p:pic>
      </p:grpSp>
      <p:grpSp>
        <p:nvGrpSpPr>
          <p:cNvPr id="6" name="Group 5">
            <a:extLst>
              <a:ext uri="{FF2B5EF4-FFF2-40B4-BE49-F238E27FC236}">
                <a16:creationId xmlns:a16="http://schemas.microsoft.com/office/drawing/2014/main" id="{07716CED-F027-4B69-8E65-0795448BADDC}"/>
              </a:ext>
            </a:extLst>
          </p:cNvPr>
          <p:cNvGrpSpPr>
            <a:grpSpLocks noChangeAspect="1"/>
          </p:cNvGrpSpPr>
          <p:nvPr/>
        </p:nvGrpSpPr>
        <p:grpSpPr>
          <a:xfrm>
            <a:off x="6279869" y="3165887"/>
            <a:ext cx="2449075" cy="1014617"/>
            <a:chOff x="6290399" y="3016847"/>
            <a:chExt cx="2520000" cy="1044000"/>
          </a:xfrm>
        </p:grpSpPr>
        <p:sp>
          <p:nvSpPr>
            <p:cNvPr id="73" name="TextBox 72">
              <a:extLst>
                <a:ext uri="{FF2B5EF4-FFF2-40B4-BE49-F238E27FC236}">
                  <a16:creationId xmlns:a16="http://schemas.microsoft.com/office/drawing/2014/main" id="{E2C36723-F9BB-4129-BE16-E0D1B1A94201}"/>
                </a:ext>
              </a:extLst>
            </p:cNvPr>
            <p:cNvSpPr txBox="1"/>
            <p:nvPr/>
          </p:nvSpPr>
          <p:spPr>
            <a:xfrm>
              <a:off x="6290399" y="3016847"/>
              <a:ext cx="2520000" cy="1044000"/>
            </a:xfrm>
            <a:prstGeom prst="rect">
              <a:avLst/>
            </a:prstGeom>
            <a:solidFill>
              <a:schemeClr val="accent2"/>
            </a:solidFill>
            <a:ln w="12700">
              <a:solidFill>
                <a:schemeClr val="bg1"/>
              </a:solidFill>
            </a:ln>
          </p:spPr>
          <p:txBody>
            <a:bodyPr wrap="square" lIns="684000" tIns="46800" rIns="90000" bIns="46800" rtlCol="0" anchor="ctr">
              <a:noAutofit/>
            </a:bodyPr>
            <a:lstStyle>
              <a:defPPr>
                <a:defRPr lang="en-PT"/>
              </a:defPPr>
              <a:lvl1pPr>
                <a:defRPr sz="1600">
                  <a:solidFill>
                    <a:schemeClr val="bg1"/>
                  </a:solidFill>
                </a:defRPr>
              </a:lvl1pPr>
            </a:lstStyle>
            <a:p>
              <a:r>
                <a:rPr lang="en-GB"/>
                <a:t>Productivity </a:t>
              </a:r>
              <a:br>
                <a:rPr lang="en-GB"/>
              </a:br>
              <a:r>
                <a:rPr lang="en-GB"/>
                <a:t>and layout</a:t>
              </a:r>
              <a:br>
                <a:rPr lang="en-GB"/>
              </a:br>
              <a:r>
                <a:rPr lang="en-GB"/>
                <a:t>tools</a:t>
              </a:r>
            </a:p>
          </p:txBody>
        </p:sp>
        <p:sp>
          <p:nvSpPr>
            <p:cNvPr id="21" name="Rectangle: Rounded Corners 20">
              <a:extLst>
                <a:ext uri="{FF2B5EF4-FFF2-40B4-BE49-F238E27FC236}">
                  <a16:creationId xmlns:a16="http://schemas.microsoft.com/office/drawing/2014/main" id="{523676F2-5448-475D-9FC2-4322F2F7F1C1}"/>
                </a:ext>
              </a:extLst>
            </p:cNvPr>
            <p:cNvSpPr/>
            <p:nvPr/>
          </p:nvSpPr>
          <p:spPr>
            <a:xfrm>
              <a:off x="6425366" y="3322850"/>
              <a:ext cx="431999" cy="431999"/>
            </a:xfrm>
            <a:prstGeom prst="round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bg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a:r>
                <a:rPr lang="en-GB" b="1">
                  <a:solidFill>
                    <a:schemeClr val="accent2"/>
                  </a:solidFill>
                </a:rPr>
                <a:t>3</a:t>
              </a:r>
            </a:p>
          </p:txBody>
        </p:sp>
        <p:pic>
          <p:nvPicPr>
            <p:cNvPr id="22" name="Graphic 21">
              <a:extLst>
                <a:ext uri="{FF2B5EF4-FFF2-40B4-BE49-F238E27FC236}">
                  <a16:creationId xmlns:a16="http://schemas.microsoft.com/office/drawing/2014/main" id="{E7185364-2D3B-48CA-A748-0AF9152E6133}"/>
                </a:ext>
              </a:extLst>
            </p:cNvPr>
            <p:cNvPicPr>
              <a:picLocks noChangeAspect="1"/>
            </p:cNvPicPr>
            <p:nvPr/>
          </p:nvPicPr>
          <p:blipFill>
            <a:blip r:embed="rId34">
              <a:extLst>
                <a:ext uri="{28A0092B-C50C-407E-A947-70E740481C1C}">
                  <a14:useLocalDpi xmlns:a14="http://schemas.microsoft.com/office/drawing/2010/main"/>
                </a:ext>
                <a:ext uri="{96DAC541-7B7A-43D3-8B79-37D633B846F1}">
                  <asvg:svgBlip xmlns:asvg="http://schemas.microsoft.com/office/drawing/2016/SVG/main" r:embed="rId35"/>
                </a:ext>
              </a:extLst>
            </a:blip>
            <a:stretch>
              <a:fillRect/>
            </a:stretch>
          </p:blipFill>
          <p:spPr>
            <a:xfrm>
              <a:off x="8123056" y="3298878"/>
              <a:ext cx="480212" cy="479938"/>
            </a:xfrm>
            <a:prstGeom prst="rect">
              <a:avLst/>
            </a:prstGeom>
          </p:spPr>
        </p:pic>
      </p:grpSp>
      <p:sp>
        <p:nvSpPr>
          <p:cNvPr id="10" name="Rectangle: Top Corners Rounded 9">
            <a:hlinkClick r:id="rId36" tooltip="Content Library - Quick guide"/>
            <a:extLst>
              <a:ext uri="{FF2B5EF4-FFF2-40B4-BE49-F238E27FC236}">
                <a16:creationId xmlns:a16="http://schemas.microsoft.com/office/drawing/2014/main" id="{F06C0D84-80D7-3C8B-822E-5A4F399C2183}"/>
              </a:ext>
            </a:extLst>
          </p:cNvPr>
          <p:cNvSpPr/>
          <p:nvPr>
            <p:custDataLst>
              <p:tags r:id="rId4"/>
            </p:custDataLst>
          </p:nvPr>
        </p:nvSpPr>
        <p:spPr>
          <a:xfrm flipV="1">
            <a:off x="552000" y="4180501"/>
            <a:ext cx="1224000" cy="524802"/>
          </a:xfrm>
          <a:prstGeom prst="round2SameRect">
            <a:avLst/>
          </a:prstGeom>
          <a:solidFill>
            <a:schemeClr val="accent1"/>
          </a:solidFill>
          <a:ln w="952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400" b="1">
              <a:solidFill>
                <a:schemeClr val="bg1"/>
              </a:solidFill>
            </a:endParaRPr>
          </a:p>
        </p:txBody>
      </p:sp>
      <p:sp>
        <p:nvSpPr>
          <p:cNvPr id="39" name="Rectangle: Top Corners Rounded 38">
            <a:hlinkClick r:id="rId37" tooltip="Content Library - Detailed guide"/>
            <a:extLst>
              <a:ext uri="{FF2B5EF4-FFF2-40B4-BE49-F238E27FC236}">
                <a16:creationId xmlns:a16="http://schemas.microsoft.com/office/drawing/2014/main" id="{1BAE6690-A06A-794A-A2B8-9AA3F84904F4}"/>
              </a:ext>
            </a:extLst>
          </p:cNvPr>
          <p:cNvSpPr/>
          <p:nvPr>
            <p:custDataLst>
              <p:tags r:id="rId5"/>
            </p:custDataLst>
          </p:nvPr>
        </p:nvSpPr>
        <p:spPr>
          <a:xfrm flipV="1">
            <a:off x="1776000" y="4180501"/>
            <a:ext cx="1224000" cy="524802"/>
          </a:xfrm>
          <a:prstGeom prst="round2SameRect">
            <a:avLst/>
          </a:prstGeom>
          <a:solidFill>
            <a:schemeClr val="accent1"/>
          </a:solidFill>
          <a:ln w="952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1200" tIns="97200" rIns="61200" bIns="97200" rtlCol="0" anchor="ctr"/>
          <a:lstStyle/>
          <a:p>
            <a:pPr algn="ctr" defTabSz="486000"/>
            <a:endParaRPr lang="en-GB" sz="1400" b="1">
              <a:solidFill>
                <a:schemeClr val="bg1"/>
              </a:solidFill>
            </a:endParaRPr>
          </a:p>
        </p:txBody>
      </p:sp>
      <p:grpSp>
        <p:nvGrpSpPr>
          <p:cNvPr id="18" name="Group 17">
            <a:extLst>
              <a:ext uri="{FF2B5EF4-FFF2-40B4-BE49-F238E27FC236}">
                <a16:creationId xmlns:a16="http://schemas.microsoft.com/office/drawing/2014/main" id="{FB5BB786-0B39-0DBF-54DE-16EE56E58FEE}"/>
              </a:ext>
            </a:extLst>
          </p:cNvPr>
          <p:cNvGrpSpPr/>
          <p:nvPr/>
        </p:nvGrpSpPr>
        <p:grpSpPr>
          <a:xfrm flipV="1">
            <a:off x="3421723" y="4180501"/>
            <a:ext cx="2448000" cy="524802"/>
            <a:chOff x="3421723" y="4180501"/>
            <a:chExt cx="2470397" cy="524802"/>
          </a:xfrm>
        </p:grpSpPr>
        <p:sp>
          <p:nvSpPr>
            <p:cNvPr id="42" name="Rectangle: Top Corners Rounded 41">
              <a:hlinkClick r:id="rId38" tooltip="Graphic Resouce Library - Quick guide"/>
              <a:extLst>
                <a:ext uri="{FF2B5EF4-FFF2-40B4-BE49-F238E27FC236}">
                  <a16:creationId xmlns:a16="http://schemas.microsoft.com/office/drawing/2014/main" id="{C5750439-6171-911B-F958-3829CAB3108F}"/>
                </a:ext>
              </a:extLst>
            </p:cNvPr>
            <p:cNvSpPr/>
            <p:nvPr>
              <p:custDataLst>
                <p:tags r:id="rId26"/>
              </p:custDataLst>
            </p:nvPr>
          </p:nvSpPr>
          <p:spPr>
            <a:xfrm>
              <a:off x="3421723" y="4180501"/>
              <a:ext cx="1235199" cy="524802"/>
            </a:xfrm>
            <a:prstGeom prst="round2SameRect">
              <a:avLst/>
            </a:prstGeom>
            <a:solidFill>
              <a:schemeClr val="accent1"/>
            </a:solidFill>
            <a:ln w="952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400" b="1">
                <a:solidFill>
                  <a:schemeClr val="bg1"/>
                </a:solidFill>
              </a:endParaRPr>
            </a:p>
          </p:txBody>
        </p:sp>
        <p:sp>
          <p:nvSpPr>
            <p:cNvPr id="47" name="Rectangle: Top Corners Rounded 46">
              <a:hlinkClick r:id="rId39" tooltip="Graphic Resource LIbrary - Detailed guide"/>
              <a:extLst>
                <a:ext uri="{FF2B5EF4-FFF2-40B4-BE49-F238E27FC236}">
                  <a16:creationId xmlns:a16="http://schemas.microsoft.com/office/drawing/2014/main" id="{5F6C0559-A48D-2ACD-7F8B-152091F0392E}"/>
                </a:ext>
              </a:extLst>
            </p:cNvPr>
            <p:cNvSpPr/>
            <p:nvPr>
              <p:custDataLst>
                <p:tags r:id="rId27"/>
              </p:custDataLst>
            </p:nvPr>
          </p:nvSpPr>
          <p:spPr>
            <a:xfrm>
              <a:off x="4656921" y="4180501"/>
              <a:ext cx="1235199" cy="524802"/>
            </a:xfrm>
            <a:prstGeom prst="round2SameRect">
              <a:avLst/>
            </a:prstGeom>
            <a:solidFill>
              <a:schemeClr val="accent1"/>
            </a:solidFill>
            <a:ln w="952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1200" tIns="97200" rIns="61200" bIns="97200" rtlCol="0" anchor="ctr"/>
            <a:lstStyle/>
            <a:p>
              <a:pPr algn="ctr" defTabSz="486000"/>
              <a:endParaRPr lang="en-GB" sz="1400" b="1">
                <a:solidFill>
                  <a:schemeClr val="bg1"/>
                </a:solidFill>
              </a:endParaRPr>
            </a:p>
          </p:txBody>
        </p:sp>
      </p:grpSp>
      <p:grpSp>
        <p:nvGrpSpPr>
          <p:cNvPr id="17" name="Group 16">
            <a:extLst>
              <a:ext uri="{FF2B5EF4-FFF2-40B4-BE49-F238E27FC236}">
                <a16:creationId xmlns:a16="http://schemas.microsoft.com/office/drawing/2014/main" id="{D5A4EE06-B2C1-3968-1D63-B9943FD3D1D8}"/>
              </a:ext>
            </a:extLst>
          </p:cNvPr>
          <p:cNvGrpSpPr/>
          <p:nvPr/>
        </p:nvGrpSpPr>
        <p:grpSpPr>
          <a:xfrm flipV="1">
            <a:off x="6280944" y="4180501"/>
            <a:ext cx="2448000" cy="524802"/>
            <a:chOff x="6280326" y="4180501"/>
            <a:chExt cx="2470398" cy="524802"/>
          </a:xfrm>
        </p:grpSpPr>
        <p:sp>
          <p:nvSpPr>
            <p:cNvPr id="48" name="Rectangle 47">
              <a:hlinkClick r:id="rId40" tooltip="Productivity and Layout tools - Quick guide"/>
              <a:extLst>
                <a:ext uri="{FF2B5EF4-FFF2-40B4-BE49-F238E27FC236}">
                  <a16:creationId xmlns:a16="http://schemas.microsoft.com/office/drawing/2014/main" id="{E34486B8-A8AA-811B-C07F-B666EB409490}"/>
                </a:ext>
              </a:extLst>
            </p:cNvPr>
            <p:cNvSpPr/>
            <p:nvPr>
              <p:custDataLst>
                <p:tags r:id="rId24"/>
              </p:custDataLst>
            </p:nvPr>
          </p:nvSpPr>
          <p:spPr>
            <a:xfrm>
              <a:off x="6280326" y="4180501"/>
              <a:ext cx="1235199" cy="524802"/>
            </a:xfrm>
            <a:prstGeom prst="round2SameRect">
              <a:avLst/>
            </a:prstGeom>
            <a:solidFill>
              <a:schemeClr val="accent1"/>
            </a:solidFill>
            <a:ln w="952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400" b="1">
                <a:solidFill>
                  <a:schemeClr val="bg1"/>
                </a:solidFill>
              </a:endParaRPr>
            </a:p>
          </p:txBody>
        </p:sp>
        <p:sp>
          <p:nvSpPr>
            <p:cNvPr id="49" name="Rectangle 48">
              <a:hlinkClick r:id="rId41" tooltip="Productivity and layout tools - detailed"/>
              <a:extLst>
                <a:ext uri="{FF2B5EF4-FFF2-40B4-BE49-F238E27FC236}">
                  <a16:creationId xmlns:a16="http://schemas.microsoft.com/office/drawing/2014/main" id="{942D4B50-E3CF-291C-5E6E-E555E509917A}"/>
                </a:ext>
              </a:extLst>
            </p:cNvPr>
            <p:cNvSpPr/>
            <p:nvPr>
              <p:custDataLst>
                <p:tags r:id="rId25"/>
              </p:custDataLst>
            </p:nvPr>
          </p:nvSpPr>
          <p:spPr>
            <a:xfrm>
              <a:off x="7515525" y="4180501"/>
              <a:ext cx="1235199" cy="524802"/>
            </a:xfrm>
            <a:prstGeom prst="round2SameRect">
              <a:avLst/>
            </a:prstGeom>
            <a:solidFill>
              <a:schemeClr val="accent1"/>
            </a:solidFill>
            <a:ln w="952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1200" tIns="97200" rIns="61200" bIns="97200" rtlCol="0" anchor="ctr"/>
            <a:lstStyle/>
            <a:p>
              <a:pPr algn="ctr" defTabSz="486000"/>
              <a:endParaRPr lang="en-GB" sz="1400" b="1">
                <a:solidFill>
                  <a:schemeClr val="bg1"/>
                </a:solidFill>
              </a:endParaRPr>
            </a:p>
          </p:txBody>
        </p:sp>
      </p:grpSp>
      <p:sp>
        <p:nvSpPr>
          <p:cNvPr id="53" name="Rectangle 52">
            <a:extLst>
              <a:ext uri="{FF2B5EF4-FFF2-40B4-BE49-F238E27FC236}">
                <a16:creationId xmlns:a16="http://schemas.microsoft.com/office/drawing/2014/main" id="{5BC81A08-2ECF-2CE8-D2BA-E94A3BEE976A}"/>
              </a:ext>
            </a:extLst>
          </p:cNvPr>
          <p:cNvSpPr/>
          <p:nvPr>
            <p:custDataLst>
              <p:tags r:id="rId6"/>
            </p:custDataLst>
          </p:nvPr>
        </p:nvSpPr>
        <p:spPr>
          <a:xfrm>
            <a:off x="552000" y="3103141"/>
            <a:ext cx="2448000" cy="62743"/>
          </a:xfrm>
          <a:prstGeom prst="rect">
            <a:avLst/>
          </a:prstGeom>
          <a:solidFill>
            <a:schemeClr val="accent1"/>
          </a:solidFill>
          <a:ln w="952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000" b="1">
              <a:solidFill>
                <a:schemeClr val="bg1"/>
              </a:solidFill>
            </a:endParaRPr>
          </a:p>
        </p:txBody>
      </p:sp>
      <p:sp>
        <p:nvSpPr>
          <p:cNvPr id="54" name="Rectangle 53">
            <a:extLst>
              <a:ext uri="{FF2B5EF4-FFF2-40B4-BE49-F238E27FC236}">
                <a16:creationId xmlns:a16="http://schemas.microsoft.com/office/drawing/2014/main" id="{12F86A7B-5C60-89E0-CEF3-0D86D8809D1B}"/>
              </a:ext>
            </a:extLst>
          </p:cNvPr>
          <p:cNvSpPr/>
          <p:nvPr/>
        </p:nvSpPr>
        <p:spPr>
          <a:xfrm>
            <a:off x="3421723" y="3103141"/>
            <a:ext cx="2448000" cy="62743"/>
          </a:xfrm>
          <a:prstGeom prst="rect">
            <a:avLst/>
          </a:prstGeom>
          <a:solidFill>
            <a:schemeClr val="accent1"/>
          </a:solidFill>
          <a:ln w="952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000" b="1">
              <a:solidFill>
                <a:schemeClr val="bg1"/>
              </a:solidFill>
            </a:endParaRPr>
          </a:p>
        </p:txBody>
      </p:sp>
      <p:sp>
        <p:nvSpPr>
          <p:cNvPr id="40" name="TextBox 39">
            <a:extLst>
              <a:ext uri="{FF2B5EF4-FFF2-40B4-BE49-F238E27FC236}">
                <a16:creationId xmlns:a16="http://schemas.microsoft.com/office/drawing/2014/main" id="{0154385E-A702-486F-847E-18AE7185F722}"/>
              </a:ext>
            </a:extLst>
          </p:cNvPr>
          <p:cNvSpPr txBox="1"/>
          <p:nvPr>
            <p:custDataLst>
              <p:tags r:id="rId7"/>
            </p:custDataLst>
          </p:nvPr>
        </p:nvSpPr>
        <p:spPr>
          <a:xfrm>
            <a:off x="9192001" y="3165887"/>
            <a:ext cx="2448000" cy="1014617"/>
          </a:xfrm>
          <a:prstGeom prst="rect">
            <a:avLst/>
          </a:prstGeom>
          <a:solidFill>
            <a:schemeClr val="accent2"/>
          </a:solidFill>
          <a:ln w="12700">
            <a:solidFill>
              <a:schemeClr val="bg1"/>
            </a:solidFill>
          </a:ln>
        </p:spPr>
        <p:txBody>
          <a:bodyPr wrap="square" lIns="684000" tIns="46800" rIns="90000" bIns="46800" rtlCol="0" anchor="ctr">
            <a:noAutofit/>
          </a:bodyPr>
          <a:lstStyle>
            <a:defPPr>
              <a:defRPr lang="en-PT"/>
            </a:defPPr>
            <a:lvl1pPr>
              <a:defRPr sz="1600">
                <a:solidFill>
                  <a:schemeClr val="bg1"/>
                </a:solidFill>
              </a:defRPr>
            </a:lvl1pPr>
          </a:lstStyle>
          <a:p>
            <a:r>
              <a:rPr lang="en-GB"/>
              <a:t>Advanced</a:t>
            </a:r>
            <a:br>
              <a:rPr lang="en-GB"/>
            </a:br>
            <a:r>
              <a:rPr lang="en-GB"/>
              <a:t>charting</a:t>
            </a:r>
            <a:br>
              <a:rPr lang="en-GB"/>
            </a:br>
            <a:r>
              <a:rPr lang="en-GB"/>
              <a:t>tools</a:t>
            </a:r>
          </a:p>
        </p:txBody>
      </p:sp>
      <p:sp>
        <p:nvSpPr>
          <p:cNvPr id="41" name="Oval 40">
            <a:extLst>
              <a:ext uri="{FF2B5EF4-FFF2-40B4-BE49-F238E27FC236}">
                <a16:creationId xmlns:a16="http://schemas.microsoft.com/office/drawing/2014/main" id="{3298765D-07B2-4687-9330-B7229201E626}"/>
              </a:ext>
            </a:extLst>
          </p:cNvPr>
          <p:cNvSpPr/>
          <p:nvPr>
            <p:custDataLst>
              <p:tags r:id="rId8"/>
            </p:custDataLst>
          </p:nvPr>
        </p:nvSpPr>
        <p:spPr>
          <a:xfrm>
            <a:off x="9323168" y="3463276"/>
            <a:ext cx="419840" cy="419841"/>
          </a:xfrm>
          <a:prstGeom prst="round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bg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a:r>
              <a:rPr lang="en-GB" b="1">
                <a:solidFill>
                  <a:schemeClr val="accent2"/>
                </a:solidFill>
              </a:rPr>
              <a:t>4</a:t>
            </a:r>
          </a:p>
        </p:txBody>
      </p:sp>
      <p:pic>
        <p:nvPicPr>
          <p:cNvPr id="43" name="Bar chart (5) (2)">
            <a:extLst>
              <a:ext uri="{FF2B5EF4-FFF2-40B4-BE49-F238E27FC236}">
                <a16:creationId xmlns:a16="http://schemas.microsoft.com/office/drawing/2014/main" id="{94FFA182-BC21-4266-A785-B7635BA99446}"/>
              </a:ext>
            </a:extLst>
          </p:cNvPr>
          <p:cNvPicPr>
            <a:picLocks noChangeAspect="1"/>
          </p:cNvPicPr>
          <p:nvPr>
            <p:custDataLst>
              <p:tags r:id="rId9"/>
            </p:custDataLst>
          </p:nvPr>
        </p:nvPicPr>
        <p:blipFill>
          <a:blip r:embed="rId42">
            <a:extLst>
              <a:ext uri="{28A0092B-C50C-407E-A947-70E740481C1C}">
                <a14:useLocalDpi xmlns:a14="http://schemas.microsoft.com/office/drawing/2010/main"/>
              </a:ext>
              <a:ext uri="{96DAC541-7B7A-43D3-8B79-37D633B846F1}">
                <asvg:svgBlip xmlns:asvg="http://schemas.microsoft.com/office/drawing/2016/SVG/main" r:embed="rId43"/>
              </a:ext>
            </a:extLst>
          </a:blip>
          <a:stretch>
            <a:fillRect/>
          </a:stretch>
        </p:blipFill>
        <p:spPr>
          <a:xfrm>
            <a:off x="10974449" y="3440533"/>
            <a:ext cx="465324" cy="465324"/>
          </a:xfrm>
          <a:prstGeom prst="round2SameRect">
            <a:avLst/>
          </a:prstGeom>
        </p:spPr>
      </p:pic>
      <p:grpSp>
        <p:nvGrpSpPr>
          <p:cNvPr id="16" name="Group 15">
            <a:extLst>
              <a:ext uri="{FF2B5EF4-FFF2-40B4-BE49-F238E27FC236}">
                <a16:creationId xmlns:a16="http://schemas.microsoft.com/office/drawing/2014/main" id="{497D535A-E7E3-9917-7902-773247DCFC5E}"/>
              </a:ext>
            </a:extLst>
          </p:cNvPr>
          <p:cNvGrpSpPr/>
          <p:nvPr/>
        </p:nvGrpSpPr>
        <p:grpSpPr>
          <a:xfrm flipV="1">
            <a:off x="9192001" y="4180501"/>
            <a:ext cx="2448000" cy="524802"/>
            <a:chOff x="9127810" y="4180501"/>
            <a:chExt cx="2470398" cy="524802"/>
          </a:xfrm>
        </p:grpSpPr>
        <p:sp>
          <p:nvSpPr>
            <p:cNvPr id="50" name="Rectangle 49">
              <a:hlinkClick r:id="rId44" tooltip="Charting Tools - Quick guide"/>
              <a:extLst>
                <a:ext uri="{FF2B5EF4-FFF2-40B4-BE49-F238E27FC236}">
                  <a16:creationId xmlns:a16="http://schemas.microsoft.com/office/drawing/2014/main" id="{3BCC015C-144F-8BB3-DDF5-183B041C47A8}"/>
                </a:ext>
              </a:extLst>
            </p:cNvPr>
            <p:cNvSpPr/>
            <p:nvPr>
              <p:custDataLst>
                <p:tags r:id="rId22"/>
              </p:custDataLst>
            </p:nvPr>
          </p:nvSpPr>
          <p:spPr>
            <a:xfrm>
              <a:off x="9127810" y="4180501"/>
              <a:ext cx="1235199" cy="524802"/>
            </a:xfrm>
            <a:prstGeom prst="round2SameRect">
              <a:avLst/>
            </a:prstGeom>
            <a:solidFill>
              <a:schemeClr val="accent1"/>
            </a:solidFill>
            <a:ln w="952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400" b="1">
                <a:solidFill>
                  <a:schemeClr val="bg1"/>
                </a:solidFill>
              </a:endParaRPr>
            </a:p>
          </p:txBody>
        </p:sp>
        <p:sp>
          <p:nvSpPr>
            <p:cNvPr id="52" name="Rectangle 51">
              <a:hlinkClick r:id="rId45" tooltip="Charting Tools - Detailed guides"/>
              <a:extLst>
                <a:ext uri="{FF2B5EF4-FFF2-40B4-BE49-F238E27FC236}">
                  <a16:creationId xmlns:a16="http://schemas.microsoft.com/office/drawing/2014/main" id="{DD5D71FC-CE3C-A8A2-DFE3-821C3A6D784E}"/>
                </a:ext>
              </a:extLst>
            </p:cNvPr>
            <p:cNvSpPr/>
            <p:nvPr>
              <p:custDataLst>
                <p:tags r:id="rId23"/>
              </p:custDataLst>
            </p:nvPr>
          </p:nvSpPr>
          <p:spPr>
            <a:xfrm>
              <a:off x="10363009" y="4180501"/>
              <a:ext cx="1235199" cy="524802"/>
            </a:xfrm>
            <a:prstGeom prst="round2SameRect">
              <a:avLst/>
            </a:prstGeom>
            <a:solidFill>
              <a:schemeClr val="accent1"/>
            </a:solidFill>
            <a:ln w="952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1200" tIns="97200" rIns="61200" bIns="97200" rtlCol="0" anchor="ctr"/>
            <a:lstStyle/>
            <a:p>
              <a:pPr algn="ctr" defTabSz="486000"/>
              <a:endParaRPr lang="en-GB" sz="1400" b="1">
                <a:solidFill>
                  <a:schemeClr val="bg1"/>
                </a:solidFill>
              </a:endParaRPr>
            </a:p>
          </p:txBody>
        </p:sp>
      </p:grpSp>
      <p:sp>
        <p:nvSpPr>
          <p:cNvPr id="55" name="Rectangle 54">
            <a:extLst>
              <a:ext uri="{FF2B5EF4-FFF2-40B4-BE49-F238E27FC236}">
                <a16:creationId xmlns:a16="http://schemas.microsoft.com/office/drawing/2014/main" id="{94200AB5-6962-A89F-CF00-B7FB2224CF8D}"/>
              </a:ext>
            </a:extLst>
          </p:cNvPr>
          <p:cNvSpPr/>
          <p:nvPr>
            <p:custDataLst>
              <p:tags r:id="rId10"/>
            </p:custDataLst>
          </p:nvPr>
        </p:nvSpPr>
        <p:spPr>
          <a:xfrm>
            <a:off x="9192001" y="3103141"/>
            <a:ext cx="2448000" cy="62743"/>
          </a:xfrm>
          <a:prstGeom prst="round2SameRect">
            <a:avLst/>
          </a:prstGeom>
          <a:solidFill>
            <a:schemeClr val="accent1"/>
          </a:solidFill>
          <a:ln w="952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000" b="1">
              <a:solidFill>
                <a:schemeClr val="bg1"/>
              </a:solidFill>
            </a:endParaRPr>
          </a:p>
        </p:txBody>
      </p:sp>
      <p:sp>
        <p:nvSpPr>
          <p:cNvPr id="63" name="Rectangle 62">
            <a:extLst>
              <a:ext uri="{FF2B5EF4-FFF2-40B4-BE49-F238E27FC236}">
                <a16:creationId xmlns:a16="http://schemas.microsoft.com/office/drawing/2014/main" id="{67863BB7-C75F-F2AB-B3E4-DEED88EEB043}"/>
              </a:ext>
            </a:extLst>
          </p:cNvPr>
          <p:cNvSpPr/>
          <p:nvPr>
            <p:custDataLst>
              <p:tags r:id="rId11"/>
            </p:custDataLst>
          </p:nvPr>
        </p:nvSpPr>
        <p:spPr>
          <a:xfrm>
            <a:off x="6280944" y="3103141"/>
            <a:ext cx="2448000" cy="62743"/>
          </a:xfrm>
          <a:prstGeom prst="rect">
            <a:avLst/>
          </a:prstGeom>
          <a:solidFill>
            <a:schemeClr val="accent1"/>
          </a:solidFill>
          <a:ln w="952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000" b="1">
              <a:solidFill>
                <a:schemeClr val="bg1"/>
              </a:solidFill>
            </a:endParaRPr>
          </a:p>
        </p:txBody>
      </p:sp>
      <p:sp>
        <p:nvSpPr>
          <p:cNvPr id="2" name="Rectangle: Top Corners Rounded 1">
            <a:hlinkClick r:id="rId36" tooltip="Content Library - Quick guide"/>
            <a:extLst>
              <a:ext uri="{FF2B5EF4-FFF2-40B4-BE49-F238E27FC236}">
                <a16:creationId xmlns:a16="http://schemas.microsoft.com/office/drawing/2014/main" id="{AE836269-12E2-A352-61CF-CC23EB27A964}"/>
              </a:ext>
            </a:extLst>
          </p:cNvPr>
          <p:cNvSpPr/>
          <p:nvPr>
            <p:custDataLst>
              <p:tags r:id="rId12"/>
            </p:custDataLst>
          </p:nvPr>
        </p:nvSpPr>
        <p:spPr>
          <a:xfrm>
            <a:off x="552000" y="4176733"/>
            <a:ext cx="1224000" cy="524802"/>
          </a:xfrm>
          <a:prstGeom prst="round2Same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1400" b="1">
                <a:solidFill>
                  <a:schemeClr val="bg1"/>
                </a:solidFill>
              </a:rPr>
              <a:t>&gt; Video </a:t>
            </a:r>
            <a:r>
              <a:rPr lang="en-GB" sz="1400">
                <a:solidFill>
                  <a:schemeClr val="accent2"/>
                </a:solidFill>
              </a:rPr>
              <a:t>Quick</a:t>
            </a:r>
          </a:p>
        </p:txBody>
      </p:sp>
      <p:sp>
        <p:nvSpPr>
          <p:cNvPr id="5" name="Rectangle: Top Corners Rounded 4">
            <a:hlinkClick r:id="rId37" tooltip="Content Library - Detailed guide"/>
            <a:extLst>
              <a:ext uri="{FF2B5EF4-FFF2-40B4-BE49-F238E27FC236}">
                <a16:creationId xmlns:a16="http://schemas.microsoft.com/office/drawing/2014/main" id="{E78594D5-7D30-4D26-F570-5DFDE744AE18}"/>
              </a:ext>
            </a:extLst>
          </p:cNvPr>
          <p:cNvSpPr/>
          <p:nvPr>
            <p:custDataLst>
              <p:tags r:id="rId13"/>
            </p:custDataLst>
          </p:nvPr>
        </p:nvSpPr>
        <p:spPr>
          <a:xfrm>
            <a:off x="1776000" y="4176733"/>
            <a:ext cx="1224000" cy="524802"/>
          </a:xfrm>
          <a:prstGeom prst="round2Same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1200" tIns="97200" rIns="61200" bIns="97200" rtlCol="0" anchor="ctr"/>
          <a:lstStyle/>
          <a:p>
            <a:pPr algn="ctr" defTabSz="486000"/>
            <a:r>
              <a:rPr lang="en-GB" sz="1400" b="1">
                <a:solidFill>
                  <a:schemeClr val="bg1"/>
                </a:solidFill>
              </a:rPr>
              <a:t>&gt; Video </a:t>
            </a:r>
            <a:r>
              <a:rPr lang="en-GB" sz="1400">
                <a:solidFill>
                  <a:schemeClr val="accent2"/>
                </a:solidFill>
              </a:rPr>
              <a:t>Detailed</a:t>
            </a:r>
          </a:p>
        </p:txBody>
      </p:sp>
      <p:grpSp>
        <p:nvGrpSpPr>
          <p:cNvPr id="11" name="Group 10">
            <a:extLst>
              <a:ext uri="{FF2B5EF4-FFF2-40B4-BE49-F238E27FC236}">
                <a16:creationId xmlns:a16="http://schemas.microsoft.com/office/drawing/2014/main" id="{7F876544-5DD7-5700-63DC-EA5131CF5020}"/>
              </a:ext>
            </a:extLst>
          </p:cNvPr>
          <p:cNvGrpSpPr/>
          <p:nvPr/>
        </p:nvGrpSpPr>
        <p:grpSpPr>
          <a:xfrm>
            <a:off x="3421723" y="4176733"/>
            <a:ext cx="2448000" cy="524802"/>
            <a:chOff x="3421723" y="4180501"/>
            <a:chExt cx="2470397" cy="524802"/>
          </a:xfrm>
          <a:noFill/>
        </p:grpSpPr>
        <p:sp>
          <p:nvSpPr>
            <p:cNvPr id="12" name="Rectangle: Top Corners Rounded 11">
              <a:hlinkClick r:id="rId38" tooltip="Graphic Resouce Library - Quick guide"/>
              <a:extLst>
                <a:ext uri="{FF2B5EF4-FFF2-40B4-BE49-F238E27FC236}">
                  <a16:creationId xmlns:a16="http://schemas.microsoft.com/office/drawing/2014/main" id="{FF909FF5-1762-77DE-B53C-F84B3EE7A3B1}"/>
                </a:ext>
              </a:extLst>
            </p:cNvPr>
            <p:cNvSpPr/>
            <p:nvPr>
              <p:custDataLst>
                <p:tags r:id="rId20"/>
              </p:custDataLst>
            </p:nvPr>
          </p:nvSpPr>
          <p:spPr>
            <a:xfrm>
              <a:off x="3421723" y="4180501"/>
              <a:ext cx="1235199" cy="524802"/>
            </a:xfrm>
            <a:prstGeom prst="round2SameRect">
              <a:avLst/>
            </a:prstGeom>
            <a:grp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1400" b="1">
                  <a:solidFill>
                    <a:schemeClr val="bg1"/>
                  </a:solidFill>
                </a:rPr>
                <a:t>&gt; Video </a:t>
              </a:r>
              <a:r>
                <a:rPr lang="en-GB" sz="1400">
                  <a:solidFill>
                    <a:schemeClr val="accent2"/>
                  </a:solidFill>
                </a:rPr>
                <a:t>Quick</a:t>
              </a:r>
            </a:p>
          </p:txBody>
        </p:sp>
        <p:sp>
          <p:nvSpPr>
            <p:cNvPr id="14" name="Rectangle: Top Corners Rounded 13">
              <a:hlinkClick r:id="rId39" tooltip="Graphic Resource LIbrary - Detailed guide"/>
              <a:extLst>
                <a:ext uri="{FF2B5EF4-FFF2-40B4-BE49-F238E27FC236}">
                  <a16:creationId xmlns:a16="http://schemas.microsoft.com/office/drawing/2014/main" id="{7B467DCD-2508-0076-3E50-BCEC5C68CC47}"/>
                </a:ext>
              </a:extLst>
            </p:cNvPr>
            <p:cNvSpPr/>
            <p:nvPr>
              <p:custDataLst>
                <p:tags r:id="rId21"/>
              </p:custDataLst>
            </p:nvPr>
          </p:nvSpPr>
          <p:spPr>
            <a:xfrm>
              <a:off x="4656921" y="4180501"/>
              <a:ext cx="1235199" cy="524802"/>
            </a:xfrm>
            <a:prstGeom prst="round2SameRect">
              <a:avLst/>
            </a:prstGeom>
            <a:grp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1200" tIns="97200" rIns="61200" bIns="97200" rtlCol="0" anchor="ctr"/>
            <a:lstStyle/>
            <a:p>
              <a:pPr algn="ctr" defTabSz="486000"/>
              <a:r>
                <a:rPr lang="en-GB" sz="1400" b="1">
                  <a:solidFill>
                    <a:schemeClr val="bg1"/>
                  </a:solidFill>
                </a:rPr>
                <a:t>&gt; Video </a:t>
              </a:r>
              <a:r>
                <a:rPr lang="en-GB" sz="1400">
                  <a:solidFill>
                    <a:schemeClr val="accent2"/>
                  </a:solidFill>
                </a:rPr>
                <a:t>Detailed</a:t>
              </a:r>
            </a:p>
          </p:txBody>
        </p:sp>
      </p:grpSp>
      <p:grpSp>
        <p:nvGrpSpPr>
          <p:cNvPr id="15" name="Group 14">
            <a:extLst>
              <a:ext uri="{FF2B5EF4-FFF2-40B4-BE49-F238E27FC236}">
                <a16:creationId xmlns:a16="http://schemas.microsoft.com/office/drawing/2014/main" id="{52625F8D-4F5B-A100-8CD7-C892BD1465C0}"/>
              </a:ext>
            </a:extLst>
          </p:cNvPr>
          <p:cNvGrpSpPr/>
          <p:nvPr/>
        </p:nvGrpSpPr>
        <p:grpSpPr>
          <a:xfrm>
            <a:off x="6280944" y="4176733"/>
            <a:ext cx="2448000" cy="524802"/>
            <a:chOff x="6280326" y="4180501"/>
            <a:chExt cx="2470398" cy="524802"/>
          </a:xfrm>
          <a:noFill/>
        </p:grpSpPr>
        <p:sp>
          <p:nvSpPr>
            <p:cNvPr id="27" name="Rectangle 47">
              <a:hlinkClick r:id="rId40" tooltip="Productivity and Layout tools - Quick guide"/>
              <a:extLst>
                <a:ext uri="{FF2B5EF4-FFF2-40B4-BE49-F238E27FC236}">
                  <a16:creationId xmlns:a16="http://schemas.microsoft.com/office/drawing/2014/main" id="{41C9AAE3-6642-9862-5B9D-25C0B4747EBB}"/>
                </a:ext>
              </a:extLst>
            </p:cNvPr>
            <p:cNvSpPr/>
            <p:nvPr>
              <p:custDataLst>
                <p:tags r:id="rId18"/>
              </p:custDataLst>
            </p:nvPr>
          </p:nvSpPr>
          <p:spPr>
            <a:xfrm>
              <a:off x="6280326" y="4180501"/>
              <a:ext cx="1235199" cy="524802"/>
            </a:xfrm>
            <a:prstGeom prst="round2SameRect">
              <a:avLst/>
            </a:prstGeom>
            <a:grp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1400" b="1">
                  <a:solidFill>
                    <a:schemeClr val="bg1"/>
                  </a:solidFill>
                </a:rPr>
                <a:t>&gt; Video </a:t>
              </a:r>
              <a:r>
                <a:rPr lang="en-GB" sz="1400">
                  <a:solidFill>
                    <a:schemeClr val="accent2"/>
                  </a:solidFill>
                </a:rPr>
                <a:t>Quick</a:t>
              </a:r>
            </a:p>
          </p:txBody>
        </p:sp>
        <p:sp>
          <p:nvSpPr>
            <p:cNvPr id="28" name="Rectangle 48">
              <a:hlinkClick r:id="rId41" tooltip="Productivity and layout tools - detailed"/>
              <a:extLst>
                <a:ext uri="{FF2B5EF4-FFF2-40B4-BE49-F238E27FC236}">
                  <a16:creationId xmlns:a16="http://schemas.microsoft.com/office/drawing/2014/main" id="{CE686611-3167-36D0-D8F3-9AB4ACBB0681}"/>
                </a:ext>
              </a:extLst>
            </p:cNvPr>
            <p:cNvSpPr/>
            <p:nvPr>
              <p:custDataLst>
                <p:tags r:id="rId19"/>
              </p:custDataLst>
            </p:nvPr>
          </p:nvSpPr>
          <p:spPr>
            <a:xfrm>
              <a:off x="7515525" y="4180501"/>
              <a:ext cx="1235199" cy="524802"/>
            </a:xfrm>
            <a:prstGeom prst="round2SameRect">
              <a:avLst/>
            </a:prstGeom>
            <a:grp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1200" tIns="97200" rIns="61200" bIns="97200" rtlCol="0" anchor="ctr"/>
            <a:lstStyle/>
            <a:p>
              <a:pPr algn="ctr" defTabSz="486000"/>
              <a:r>
                <a:rPr lang="en-GB" sz="1400" b="1">
                  <a:solidFill>
                    <a:schemeClr val="bg1"/>
                  </a:solidFill>
                </a:rPr>
                <a:t>&gt; Video </a:t>
              </a:r>
              <a:r>
                <a:rPr lang="en-GB" sz="1400">
                  <a:solidFill>
                    <a:schemeClr val="accent2"/>
                  </a:solidFill>
                </a:rPr>
                <a:t>Detailed</a:t>
              </a:r>
            </a:p>
          </p:txBody>
        </p:sp>
      </p:grpSp>
      <p:grpSp>
        <p:nvGrpSpPr>
          <p:cNvPr id="29" name="Group 28">
            <a:extLst>
              <a:ext uri="{FF2B5EF4-FFF2-40B4-BE49-F238E27FC236}">
                <a16:creationId xmlns:a16="http://schemas.microsoft.com/office/drawing/2014/main" id="{7A81DB09-B73A-9B0C-4815-3884E29AC4EC}"/>
              </a:ext>
            </a:extLst>
          </p:cNvPr>
          <p:cNvGrpSpPr/>
          <p:nvPr/>
        </p:nvGrpSpPr>
        <p:grpSpPr>
          <a:xfrm>
            <a:off x="9192001" y="4176733"/>
            <a:ext cx="2448000" cy="524802"/>
            <a:chOff x="9127810" y="4180501"/>
            <a:chExt cx="2470398" cy="524802"/>
          </a:xfrm>
          <a:noFill/>
        </p:grpSpPr>
        <p:sp>
          <p:nvSpPr>
            <p:cNvPr id="30" name="Rectangle 49">
              <a:hlinkClick r:id="rId44" tooltip="Charting Tools - Quick guide"/>
              <a:extLst>
                <a:ext uri="{FF2B5EF4-FFF2-40B4-BE49-F238E27FC236}">
                  <a16:creationId xmlns:a16="http://schemas.microsoft.com/office/drawing/2014/main" id="{BA715A9D-64C0-156D-C45A-A3ADAB36663B}"/>
                </a:ext>
              </a:extLst>
            </p:cNvPr>
            <p:cNvSpPr/>
            <p:nvPr>
              <p:custDataLst>
                <p:tags r:id="rId16"/>
              </p:custDataLst>
            </p:nvPr>
          </p:nvSpPr>
          <p:spPr>
            <a:xfrm>
              <a:off x="9127810" y="4180501"/>
              <a:ext cx="1235199" cy="524802"/>
            </a:xfrm>
            <a:prstGeom prst="round2SameRect">
              <a:avLst/>
            </a:prstGeom>
            <a:grp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1400" b="1">
                  <a:solidFill>
                    <a:schemeClr val="bg1"/>
                  </a:solidFill>
                </a:rPr>
                <a:t>&gt; Video </a:t>
              </a:r>
              <a:r>
                <a:rPr lang="en-GB" sz="1400">
                  <a:solidFill>
                    <a:schemeClr val="accent2"/>
                  </a:solidFill>
                </a:rPr>
                <a:t>Quick</a:t>
              </a:r>
            </a:p>
          </p:txBody>
        </p:sp>
        <p:sp>
          <p:nvSpPr>
            <p:cNvPr id="31" name="Rectangle 51">
              <a:hlinkClick r:id="rId45" tooltip="Charting Tools - Detailed guides"/>
              <a:extLst>
                <a:ext uri="{FF2B5EF4-FFF2-40B4-BE49-F238E27FC236}">
                  <a16:creationId xmlns:a16="http://schemas.microsoft.com/office/drawing/2014/main" id="{37C6AD51-C9CB-D500-FC42-01A9ABE834F6}"/>
                </a:ext>
              </a:extLst>
            </p:cNvPr>
            <p:cNvSpPr/>
            <p:nvPr>
              <p:custDataLst>
                <p:tags r:id="rId17"/>
              </p:custDataLst>
            </p:nvPr>
          </p:nvSpPr>
          <p:spPr>
            <a:xfrm>
              <a:off x="10363009" y="4180501"/>
              <a:ext cx="1235199" cy="524802"/>
            </a:xfrm>
            <a:prstGeom prst="round2SameRect">
              <a:avLst/>
            </a:prstGeom>
            <a:grp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1200" tIns="97200" rIns="61200" bIns="97200" rtlCol="0" anchor="ctr"/>
            <a:lstStyle/>
            <a:p>
              <a:pPr algn="ctr" defTabSz="486000"/>
              <a:r>
                <a:rPr lang="en-GB" sz="1400" b="1">
                  <a:solidFill>
                    <a:schemeClr val="bg1"/>
                  </a:solidFill>
                </a:rPr>
                <a:t>&gt; Video </a:t>
              </a:r>
              <a:r>
                <a:rPr lang="en-GB" sz="1400">
                  <a:solidFill>
                    <a:schemeClr val="accent2"/>
                  </a:solidFill>
                </a:rPr>
                <a:t>Detailed</a:t>
              </a:r>
            </a:p>
          </p:txBody>
        </p:sp>
      </p:grpSp>
      <p:grpSp>
        <p:nvGrpSpPr>
          <p:cNvPr id="33" name="Group 32">
            <a:extLst>
              <a:ext uri="{FF2B5EF4-FFF2-40B4-BE49-F238E27FC236}">
                <a16:creationId xmlns:a16="http://schemas.microsoft.com/office/drawing/2014/main" id="{9947DE46-B78C-BEA9-56FD-2EB3CCAFEE74}"/>
              </a:ext>
            </a:extLst>
          </p:cNvPr>
          <p:cNvGrpSpPr/>
          <p:nvPr/>
        </p:nvGrpSpPr>
        <p:grpSpPr>
          <a:xfrm>
            <a:off x="552000" y="5160133"/>
            <a:ext cx="11088001" cy="860676"/>
            <a:chOff x="552000" y="5160133"/>
            <a:chExt cx="11088001" cy="860676"/>
          </a:xfrm>
        </p:grpSpPr>
        <p:sp>
          <p:nvSpPr>
            <p:cNvPr id="32" name="TextBox 31">
              <a:extLst>
                <a:ext uri="{FF2B5EF4-FFF2-40B4-BE49-F238E27FC236}">
                  <a16:creationId xmlns:a16="http://schemas.microsoft.com/office/drawing/2014/main" id="{E9F003E5-F1CA-DF55-2196-2F1B3FB8DC2D}"/>
                </a:ext>
              </a:extLst>
            </p:cNvPr>
            <p:cNvSpPr txBox="1"/>
            <p:nvPr>
              <p:custDataLst>
                <p:tags r:id="rId14"/>
              </p:custDataLst>
            </p:nvPr>
          </p:nvSpPr>
          <p:spPr>
            <a:xfrm flipV="1">
              <a:off x="552000" y="5160133"/>
              <a:ext cx="11088001" cy="860676"/>
            </a:xfrm>
            <a:prstGeom prst="round2SameRect">
              <a:avLst/>
            </a:prstGeom>
            <a:solidFill>
              <a:schemeClr val="accent4"/>
            </a:solidFill>
            <a:ln>
              <a:noFill/>
            </a:ln>
            <a:effectLst/>
          </p:spPr>
          <p:txBody>
            <a:bodyPr wrap="square" rtlCol="0" anchor="ctr">
              <a:noAutofit/>
            </a:bodyPr>
            <a:lstStyle/>
            <a:p>
              <a:pPr algn="ctr">
                <a:lnSpc>
                  <a:spcPct val="110000"/>
                </a:lnSpc>
                <a:spcBef>
                  <a:spcPts val="300"/>
                </a:spcBef>
                <a:spcAft>
                  <a:spcPts val="300"/>
                </a:spcAft>
              </a:pPr>
              <a:endParaRPr lang="en-GB" sz="1600">
                <a:solidFill>
                  <a:schemeClr val="bg1"/>
                </a:solidFill>
              </a:endParaRPr>
            </a:p>
          </p:txBody>
        </p:sp>
        <p:sp>
          <p:nvSpPr>
            <p:cNvPr id="36" name="TextBox 35">
              <a:extLst>
                <a:ext uri="{FF2B5EF4-FFF2-40B4-BE49-F238E27FC236}">
                  <a16:creationId xmlns:a16="http://schemas.microsoft.com/office/drawing/2014/main" id="{6D3196A3-F30A-46AF-8330-E3405A1174F7}"/>
                </a:ext>
              </a:extLst>
            </p:cNvPr>
            <p:cNvSpPr txBox="1"/>
            <p:nvPr>
              <p:custDataLst>
                <p:tags r:id="rId15"/>
              </p:custDataLst>
            </p:nvPr>
          </p:nvSpPr>
          <p:spPr>
            <a:xfrm>
              <a:off x="552000" y="5160133"/>
              <a:ext cx="11088001" cy="860676"/>
            </a:xfrm>
            <a:prstGeom prst="round2SameRect">
              <a:avLst/>
            </a:prstGeom>
            <a:noFill/>
            <a:ln>
              <a:noFill/>
            </a:ln>
            <a:effectLst/>
          </p:spPr>
          <p:txBody>
            <a:bodyPr wrap="square" rtlCol="0" anchor="ctr">
              <a:noAutofit/>
            </a:bodyPr>
            <a:lstStyle/>
            <a:p>
              <a:pPr algn="ctr">
                <a:lnSpc>
                  <a:spcPct val="110000"/>
                </a:lnSpc>
                <a:spcBef>
                  <a:spcPts val="300"/>
                </a:spcBef>
                <a:spcAft>
                  <a:spcPts val="300"/>
                </a:spcAft>
              </a:pPr>
              <a:r>
                <a:rPr lang="en-GB" sz="1600" dirty="0">
                  <a:solidFill>
                    <a:schemeClr val="bg1"/>
                  </a:solidFill>
                  <a:latin typeface="Segoe UI Semibold" panose="020B0502040204020203" pitchFamily="34" charset="0"/>
                </a:rPr>
                <a:t>IMPACT: Create better presentations in less time </a:t>
              </a:r>
            </a:p>
            <a:p>
              <a:pPr algn="ctr">
                <a:lnSpc>
                  <a:spcPct val="110000"/>
                </a:lnSpc>
                <a:spcBef>
                  <a:spcPts val="300"/>
                </a:spcBef>
                <a:spcAft>
                  <a:spcPts val="300"/>
                </a:spcAft>
              </a:pPr>
              <a:r>
                <a:rPr lang="en-GB" sz="1600" dirty="0">
                  <a:solidFill>
                    <a:schemeClr val="bg1"/>
                  </a:solidFill>
                </a:rPr>
                <a:t>empower® Express:  easier  |  faster  |  better</a:t>
              </a:r>
            </a:p>
          </p:txBody>
        </p:sp>
      </p:grpSp>
    </p:spTree>
    <p:custDataLst>
      <p:tags r:id="rId1"/>
    </p:custDataLst>
    <p:extLst>
      <p:ext uri="{BB962C8B-B14F-4D97-AF65-F5344CB8AC3E}">
        <p14:creationId xmlns:p14="http://schemas.microsoft.com/office/powerpoint/2010/main" val="3971744307"/>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Background">
            <a:extLst>
              <a:ext uri="{FF2B5EF4-FFF2-40B4-BE49-F238E27FC236}">
                <a16:creationId xmlns:a16="http://schemas.microsoft.com/office/drawing/2014/main" id="{4FE949D0-A4A4-4E42-AD9D-AA9A84F888E2}"/>
              </a:ext>
            </a:extLst>
          </p:cNvPr>
          <p:cNvSpPr/>
          <p:nvPr>
            <p:custDataLst>
              <p:tags r:id="rId2"/>
            </p:custDataLst>
          </p:nvPr>
        </p:nvSpPr>
        <p:spPr>
          <a:xfrm>
            <a:off x="552000" y="3173765"/>
            <a:ext cx="11088001" cy="392115"/>
          </a:xfrm>
          <a:prstGeom prst="rect">
            <a:avLst/>
          </a:prstGeom>
          <a:solidFill>
            <a:schemeClr val="bg1"/>
          </a:solidFill>
          <a:effectLst>
            <a:outerShdw blurRad="127000" algn="ctr" rotWithShape="0">
              <a:prstClr val="black">
                <a:alpha val="25000"/>
              </a:prstClr>
            </a:outerShdw>
          </a:effectLst>
        </p:spPr>
        <p:txBody>
          <a:bodyPr vert="horz" lIns="180000" tIns="180000" rIns="180000" bIns="180000" rtlCol="0" anchor="ctr">
            <a:noAutofit/>
          </a:bodyPr>
          <a:lstStyle/>
          <a:p>
            <a:pPr marL="540000" lvl="0" indent="-540000">
              <a:lnSpc>
                <a:spcPct val="120000"/>
              </a:lnSpc>
              <a:spcBef>
                <a:spcPts val="1200"/>
              </a:spcBef>
              <a:spcAft>
                <a:spcPts val="300"/>
              </a:spcAft>
              <a:buClr>
                <a:schemeClr val="tx2"/>
              </a:buClr>
              <a:buFont typeface="Wingdings" pitchFamily="2" charset="2"/>
              <a:buNone/>
              <a:tabLst>
                <a:tab pos="9058275" algn="r"/>
              </a:tabLst>
            </a:pPr>
            <a:r>
              <a:rPr lang="en-GB">
                <a:solidFill>
                  <a:schemeClr val="dk1"/>
                </a:solidFill>
                <a:cs typeface="Segoe UI Light" panose="020B0502040204020203" pitchFamily="34" charset="0"/>
              </a:rPr>
              <a:t>04 |	Marimekko charts </a:t>
            </a:r>
            <a:r>
              <a:rPr lang="en-GB" u="dotted">
                <a:solidFill>
                  <a:schemeClr val="dk1"/>
                </a:solidFill>
                <a:uFill>
                  <a:solidFill>
                    <a:schemeClr val="accent2"/>
                  </a:solidFill>
                </a:uFill>
                <a:cs typeface="Segoe UI Light" panose="020B0502040204020203" pitchFamily="34" charset="0"/>
              </a:rPr>
              <a:t>	</a:t>
            </a:r>
          </a:p>
        </p:txBody>
      </p:sp>
      <p:sp>
        <p:nvSpPr>
          <p:cNvPr id="2" name="Title 1">
            <a:extLst>
              <a:ext uri="{FF2B5EF4-FFF2-40B4-BE49-F238E27FC236}">
                <a16:creationId xmlns:a16="http://schemas.microsoft.com/office/drawing/2014/main" id="{2D3A3D43-024F-44D1-AEB6-C110340E07F8}"/>
              </a:ext>
            </a:extLst>
          </p:cNvPr>
          <p:cNvSpPr>
            <a:spLocks noGrp="1"/>
          </p:cNvSpPr>
          <p:nvPr>
            <p:ph type="title"/>
          </p:nvPr>
        </p:nvSpPr>
        <p:spPr/>
        <p:txBody>
          <a:bodyPr/>
          <a:lstStyle/>
          <a:p>
            <a:r>
              <a:rPr lang="en-GB" dirty="0"/>
              <a:t>empower® Lite videos</a:t>
            </a:r>
          </a:p>
        </p:txBody>
      </p:sp>
      <p:sp>
        <p:nvSpPr>
          <p:cNvPr id="6" name="Background">
            <a:extLst>
              <a:ext uri="{FF2B5EF4-FFF2-40B4-BE49-F238E27FC236}">
                <a16:creationId xmlns:a16="http://schemas.microsoft.com/office/drawing/2014/main" id="{982C3EA5-49B0-4393-92CB-C7A14317D59B}"/>
              </a:ext>
            </a:extLst>
          </p:cNvPr>
          <p:cNvSpPr/>
          <p:nvPr>
            <p:custDataLst>
              <p:tags r:id="rId3"/>
            </p:custDataLst>
          </p:nvPr>
        </p:nvSpPr>
        <p:spPr>
          <a:xfrm>
            <a:off x="552000" y="1700808"/>
            <a:ext cx="11088001" cy="392115"/>
          </a:xfrm>
          <a:prstGeom prst="rect">
            <a:avLst/>
          </a:prstGeom>
          <a:solidFill>
            <a:schemeClr val="bg1"/>
          </a:solidFill>
          <a:effectLst>
            <a:outerShdw blurRad="127000" algn="ctr" rotWithShape="0">
              <a:prstClr val="black">
                <a:alpha val="25000"/>
              </a:prstClr>
            </a:outerShdw>
          </a:effectLst>
        </p:spPr>
        <p:txBody>
          <a:bodyPr vert="horz" lIns="180000" tIns="180000" rIns="144000" bIns="180000" rtlCol="0" anchor="ctr">
            <a:noAutofit/>
          </a:bodyPr>
          <a:lstStyle/>
          <a:p>
            <a:pPr marL="540000" lvl="0" indent="-540000">
              <a:lnSpc>
                <a:spcPct val="120000"/>
              </a:lnSpc>
              <a:spcBef>
                <a:spcPts val="1200"/>
              </a:spcBef>
              <a:spcAft>
                <a:spcPts val="300"/>
              </a:spcAft>
              <a:buClr>
                <a:schemeClr val="tx2"/>
              </a:buClr>
              <a:buFont typeface="Wingdings" pitchFamily="2" charset="2"/>
              <a:buNone/>
              <a:tabLst>
                <a:tab pos="9061450" algn="r"/>
              </a:tabLst>
            </a:pPr>
            <a:r>
              <a:rPr lang="en-GB" dirty="0">
                <a:solidFill>
                  <a:schemeClr val="dk1"/>
                </a:solidFill>
                <a:cs typeface="Segoe UI Light" panose="020B0502040204020203" pitchFamily="34" charset="0"/>
              </a:rPr>
              <a:t>01 |	Introducing empower® Lite </a:t>
            </a:r>
            <a:r>
              <a:rPr lang="en-GB" u="dotted" dirty="0">
                <a:solidFill>
                  <a:schemeClr val="dk1"/>
                </a:solidFill>
                <a:uFill>
                  <a:solidFill>
                    <a:schemeClr val="accent2"/>
                  </a:solidFill>
                </a:uFill>
                <a:cs typeface="Segoe UI Light" panose="020B0502040204020203" pitchFamily="34" charset="0"/>
              </a:rPr>
              <a:t>	</a:t>
            </a:r>
          </a:p>
        </p:txBody>
      </p:sp>
      <p:sp>
        <p:nvSpPr>
          <p:cNvPr id="10" name="Background">
            <a:extLst>
              <a:ext uri="{FF2B5EF4-FFF2-40B4-BE49-F238E27FC236}">
                <a16:creationId xmlns:a16="http://schemas.microsoft.com/office/drawing/2014/main" id="{D3268CB5-6CD6-4B77-8419-14CDA23EA2EB}"/>
              </a:ext>
            </a:extLst>
          </p:cNvPr>
          <p:cNvSpPr/>
          <p:nvPr>
            <p:custDataLst>
              <p:tags r:id="rId4"/>
            </p:custDataLst>
          </p:nvPr>
        </p:nvSpPr>
        <p:spPr>
          <a:xfrm>
            <a:off x="552000" y="2191794"/>
            <a:ext cx="11088001" cy="392115"/>
          </a:xfrm>
          <a:prstGeom prst="rect">
            <a:avLst/>
          </a:prstGeom>
          <a:solidFill>
            <a:schemeClr val="bg1"/>
          </a:solidFill>
          <a:effectLst>
            <a:outerShdw blurRad="127000" algn="ctr" rotWithShape="0">
              <a:prstClr val="black">
                <a:alpha val="25000"/>
              </a:prstClr>
            </a:outerShdw>
          </a:effectLst>
        </p:spPr>
        <p:txBody>
          <a:bodyPr vert="horz" lIns="180000" tIns="180000" rIns="180000" bIns="180000" rtlCol="0" anchor="ctr">
            <a:noAutofit/>
          </a:bodyPr>
          <a:lstStyle/>
          <a:p>
            <a:pPr marL="540000" lvl="0" indent="-540000">
              <a:lnSpc>
                <a:spcPct val="120000"/>
              </a:lnSpc>
              <a:spcBef>
                <a:spcPts val="1200"/>
              </a:spcBef>
              <a:spcAft>
                <a:spcPts val="300"/>
              </a:spcAft>
              <a:buClr>
                <a:schemeClr val="tx2"/>
              </a:buClr>
              <a:buFont typeface="Wingdings" pitchFamily="2" charset="2"/>
              <a:buNone/>
              <a:tabLst>
                <a:tab pos="2511425" algn="ctr"/>
                <a:tab pos="9058275" algn="r"/>
              </a:tabLst>
            </a:pPr>
            <a:r>
              <a:rPr lang="en-GB" dirty="0">
                <a:solidFill>
                  <a:schemeClr val="dk1"/>
                </a:solidFill>
                <a:cs typeface="Segoe UI Light" panose="020B0502040204020203" pitchFamily="34" charset="0"/>
              </a:rPr>
              <a:t>02 |	empower® Lite – formatting overview </a:t>
            </a:r>
            <a:r>
              <a:rPr lang="en-GB" u="dotted" dirty="0">
                <a:solidFill>
                  <a:schemeClr val="dk1"/>
                </a:solidFill>
                <a:uFill>
                  <a:solidFill>
                    <a:schemeClr val="accent2"/>
                  </a:solidFill>
                </a:uFill>
                <a:cs typeface="Segoe UI Light" panose="020B0502040204020203" pitchFamily="34" charset="0"/>
              </a:rPr>
              <a:t>	</a:t>
            </a:r>
          </a:p>
        </p:txBody>
      </p:sp>
      <p:sp>
        <p:nvSpPr>
          <p:cNvPr id="11" name="Background">
            <a:extLst>
              <a:ext uri="{FF2B5EF4-FFF2-40B4-BE49-F238E27FC236}">
                <a16:creationId xmlns:a16="http://schemas.microsoft.com/office/drawing/2014/main" id="{C39F4254-7E6D-4FFA-959F-043065B7CC83}"/>
              </a:ext>
            </a:extLst>
          </p:cNvPr>
          <p:cNvSpPr/>
          <p:nvPr>
            <p:custDataLst>
              <p:tags r:id="rId5"/>
            </p:custDataLst>
          </p:nvPr>
        </p:nvSpPr>
        <p:spPr>
          <a:xfrm>
            <a:off x="552000" y="2682779"/>
            <a:ext cx="11088001" cy="392115"/>
          </a:xfrm>
          <a:prstGeom prst="rect">
            <a:avLst/>
          </a:prstGeom>
          <a:solidFill>
            <a:schemeClr val="bg1"/>
          </a:solidFill>
          <a:effectLst>
            <a:outerShdw blurRad="127000" algn="ctr" rotWithShape="0">
              <a:prstClr val="black">
                <a:alpha val="25000"/>
              </a:prstClr>
            </a:outerShdw>
          </a:effectLst>
        </p:spPr>
        <p:txBody>
          <a:bodyPr vert="horz" lIns="180000" tIns="180000" rIns="180000" bIns="180000" rtlCol="0" anchor="ctr">
            <a:noAutofit/>
          </a:bodyPr>
          <a:lstStyle/>
          <a:p>
            <a:pPr marL="540000" lvl="0" indent="-540000">
              <a:lnSpc>
                <a:spcPct val="120000"/>
              </a:lnSpc>
              <a:spcBef>
                <a:spcPts val="1200"/>
              </a:spcBef>
              <a:spcAft>
                <a:spcPts val="300"/>
              </a:spcAft>
              <a:buClr>
                <a:schemeClr val="tx2"/>
              </a:buClr>
              <a:buFont typeface="Wingdings" pitchFamily="2" charset="2"/>
              <a:buNone/>
              <a:tabLst>
                <a:tab pos="9058275" algn="r"/>
              </a:tabLst>
            </a:pPr>
            <a:r>
              <a:rPr lang="en-GB">
                <a:solidFill>
                  <a:schemeClr val="dk1"/>
                </a:solidFill>
                <a:cs typeface="Segoe UI Light" panose="020B0502040204020203" pitchFamily="34" charset="0"/>
              </a:rPr>
              <a:t>03 | 	Waterfall charts </a:t>
            </a:r>
            <a:r>
              <a:rPr lang="en-GB" u="dotted">
                <a:solidFill>
                  <a:schemeClr val="dk1"/>
                </a:solidFill>
                <a:uFill>
                  <a:solidFill>
                    <a:schemeClr val="accent2"/>
                  </a:solidFill>
                </a:uFill>
                <a:cs typeface="Segoe UI Light" panose="020B0502040204020203" pitchFamily="34" charset="0"/>
              </a:rPr>
              <a:t>	</a:t>
            </a:r>
          </a:p>
        </p:txBody>
      </p:sp>
      <p:sp>
        <p:nvSpPr>
          <p:cNvPr id="12" name="Background">
            <a:extLst>
              <a:ext uri="{FF2B5EF4-FFF2-40B4-BE49-F238E27FC236}">
                <a16:creationId xmlns:a16="http://schemas.microsoft.com/office/drawing/2014/main" id="{0D2DD0B1-EA61-4674-B067-3598B26D3516}"/>
              </a:ext>
            </a:extLst>
          </p:cNvPr>
          <p:cNvSpPr/>
          <p:nvPr>
            <p:custDataLst>
              <p:tags r:id="rId6"/>
            </p:custDataLst>
          </p:nvPr>
        </p:nvSpPr>
        <p:spPr>
          <a:xfrm>
            <a:off x="552000" y="3664750"/>
            <a:ext cx="11088001" cy="392115"/>
          </a:xfrm>
          <a:prstGeom prst="rect">
            <a:avLst/>
          </a:prstGeom>
          <a:solidFill>
            <a:schemeClr val="bg1"/>
          </a:solidFill>
          <a:effectLst>
            <a:outerShdw blurRad="127000" algn="ctr" rotWithShape="0">
              <a:prstClr val="black">
                <a:alpha val="25000"/>
              </a:prstClr>
            </a:outerShdw>
          </a:effectLst>
        </p:spPr>
        <p:txBody>
          <a:bodyPr vert="horz" lIns="180000" tIns="180000" rIns="180000" bIns="180000" rtlCol="0" anchor="ctr">
            <a:noAutofit/>
          </a:bodyPr>
          <a:lstStyle/>
          <a:p>
            <a:pPr marL="540000" lvl="0" indent="-540000">
              <a:lnSpc>
                <a:spcPct val="120000"/>
              </a:lnSpc>
              <a:spcBef>
                <a:spcPts val="1200"/>
              </a:spcBef>
              <a:spcAft>
                <a:spcPts val="300"/>
              </a:spcAft>
              <a:buClr>
                <a:schemeClr val="tx2"/>
              </a:buClr>
              <a:buFont typeface="Wingdings" pitchFamily="2" charset="2"/>
              <a:buNone/>
              <a:tabLst>
                <a:tab pos="9063038" algn="r"/>
              </a:tabLst>
            </a:pPr>
            <a:r>
              <a:rPr lang="en-GB">
                <a:solidFill>
                  <a:schemeClr val="dk1"/>
                </a:solidFill>
                <a:cs typeface="Segoe UI Light" panose="020B0502040204020203" pitchFamily="34" charset="0"/>
              </a:rPr>
              <a:t>05 |	Gantt charts </a:t>
            </a:r>
            <a:r>
              <a:rPr lang="en-GB" u="dotted">
                <a:solidFill>
                  <a:schemeClr val="dk1"/>
                </a:solidFill>
                <a:uFill>
                  <a:solidFill>
                    <a:schemeClr val="accent2"/>
                  </a:solidFill>
                </a:uFill>
                <a:cs typeface="Segoe UI Light" panose="020B0502040204020203" pitchFamily="34" charset="0"/>
              </a:rPr>
              <a:t>	</a:t>
            </a:r>
          </a:p>
        </p:txBody>
      </p:sp>
      <p:sp>
        <p:nvSpPr>
          <p:cNvPr id="45" name="Background">
            <a:extLst>
              <a:ext uri="{FF2B5EF4-FFF2-40B4-BE49-F238E27FC236}">
                <a16:creationId xmlns:a16="http://schemas.microsoft.com/office/drawing/2014/main" id="{C078012A-1AF5-B1A5-A877-6A0ED84AD27D}"/>
              </a:ext>
            </a:extLst>
          </p:cNvPr>
          <p:cNvSpPr/>
          <p:nvPr>
            <p:custDataLst>
              <p:tags r:id="rId7"/>
            </p:custDataLst>
          </p:nvPr>
        </p:nvSpPr>
        <p:spPr>
          <a:xfrm>
            <a:off x="552000" y="4155736"/>
            <a:ext cx="11088001" cy="392115"/>
          </a:xfrm>
          <a:prstGeom prst="rect">
            <a:avLst/>
          </a:prstGeom>
          <a:solidFill>
            <a:schemeClr val="bg1"/>
          </a:solidFill>
          <a:effectLst>
            <a:outerShdw blurRad="127000" algn="ctr" rotWithShape="0">
              <a:prstClr val="black">
                <a:alpha val="25000"/>
              </a:prstClr>
            </a:outerShdw>
          </a:effectLst>
        </p:spPr>
        <p:txBody>
          <a:bodyPr vert="horz" lIns="180000" tIns="180000" rIns="180000" bIns="180000" rtlCol="0" anchor="ctr">
            <a:noAutofit/>
          </a:bodyPr>
          <a:lstStyle/>
          <a:p>
            <a:pPr marL="540000" lvl="0" indent="-540000">
              <a:lnSpc>
                <a:spcPct val="120000"/>
              </a:lnSpc>
              <a:spcBef>
                <a:spcPts val="1200"/>
              </a:spcBef>
              <a:spcAft>
                <a:spcPts val="300"/>
              </a:spcAft>
              <a:buClr>
                <a:schemeClr val="tx2"/>
              </a:buClr>
              <a:buFont typeface="Wingdings" pitchFamily="2" charset="2"/>
              <a:buNone/>
              <a:tabLst>
                <a:tab pos="9063038" algn="r"/>
              </a:tabLst>
            </a:pPr>
            <a:r>
              <a:rPr lang="en-GB">
                <a:solidFill>
                  <a:schemeClr val="dk1"/>
                </a:solidFill>
                <a:cs typeface="Segoe UI Light" panose="020B0502040204020203" pitchFamily="34" charset="0"/>
              </a:rPr>
              <a:t>06 |	Advanced line charts </a:t>
            </a:r>
            <a:r>
              <a:rPr lang="en-GB" u="dotted">
                <a:solidFill>
                  <a:schemeClr val="dk1"/>
                </a:solidFill>
                <a:uFill>
                  <a:solidFill>
                    <a:schemeClr val="accent2"/>
                  </a:solidFill>
                </a:uFill>
                <a:cs typeface="Segoe UI Light" panose="020B0502040204020203" pitchFamily="34" charset="0"/>
              </a:rPr>
              <a:t>	</a:t>
            </a:r>
          </a:p>
        </p:txBody>
      </p:sp>
      <p:sp>
        <p:nvSpPr>
          <p:cNvPr id="46" name="Background">
            <a:extLst>
              <a:ext uri="{FF2B5EF4-FFF2-40B4-BE49-F238E27FC236}">
                <a16:creationId xmlns:a16="http://schemas.microsoft.com/office/drawing/2014/main" id="{B050CDE4-E8FB-950D-B841-C41064BF86EC}"/>
              </a:ext>
            </a:extLst>
          </p:cNvPr>
          <p:cNvSpPr/>
          <p:nvPr>
            <p:custDataLst>
              <p:tags r:id="rId8"/>
            </p:custDataLst>
          </p:nvPr>
        </p:nvSpPr>
        <p:spPr>
          <a:xfrm>
            <a:off x="552000" y="4646722"/>
            <a:ext cx="11088001" cy="392115"/>
          </a:xfrm>
          <a:prstGeom prst="rect">
            <a:avLst/>
          </a:prstGeom>
          <a:solidFill>
            <a:schemeClr val="bg1"/>
          </a:solidFill>
          <a:effectLst>
            <a:outerShdw blurRad="127000" algn="ctr" rotWithShape="0">
              <a:prstClr val="black">
                <a:alpha val="25000"/>
              </a:prstClr>
            </a:outerShdw>
          </a:effectLst>
        </p:spPr>
        <p:txBody>
          <a:bodyPr vert="horz" lIns="180000" tIns="180000" rIns="180000" bIns="180000" rtlCol="0" anchor="ctr">
            <a:noAutofit/>
          </a:bodyPr>
          <a:lstStyle/>
          <a:p>
            <a:pPr marL="540000" lvl="0" indent="-540000">
              <a:lnSpc>
                <a:spcPct val="120000"/>
              </a:lnSpc>
              <a:spcBef>
                <a:spcPts val="1200"/>
              </a:spcBef>
              <a:spcAft>
                <a:spcPts val="300"/>
              </a:spcAft>
              <a:buClr>
                <a:schemeClr val="tx2"/>
              </a:buClr>
              <a:buFont typeface="Wingdings" pitchFamily="2" charset="2"/>
              <a:buNone/>
              <a:tabLst>
                <a:tab pos="8970963" algn="r"/>
              </a:tabLst>
            </a:pPr>
            <a:r>
              <a:rPr lang="en-GB">
                <a:solidFill>
                  <a:schemeClr val="dk1"/>
                </a:solidFill>
                <a:cs typeface="Segoe UI Light" panose="020B0502040204020203" pitchFamily="34" charset="0"/>
              </a:rPr>
              <a:t>07 |	Excel linking – charts, tables, text boxes </a:t>
            </a:r>
            <a:r>
              <a:rPr lang="en-GB" u="dotted">
                <a:solidFill>
                  <a:schemeClr val="dk1"/>
                </a:solidFill>
                <a:uFill>
                  <a:solidFill>
                    <a:schemeClr val="accent2"/>
                  </a:solidFill>
                </a:uFill>
                <a:cs typeface="Segoe UI Light" panose="020B0502040204020203" pitchFamily="34" charset="0"/>
              </a:rPr>
              <a:t>	</a:t>
            </a:r>
          </a:p>
        </p:txBody>
      </p:sp>
      <p:sp>
        <p:nvSpPr>
          <p:cNvPr id="47" name="Background">
            <a:extLst>
              <a:ext uri="{FF2B5EF4-FFF2-40B4-BE49-F238E27FC236}">
                <a16:creationId xmlns:a16="http://schemas.microsoft.com/office/drawing/2014/main" id="{F998CD43-C896-7F65-87AD-2314C28CF558}"/>
              </a:ext>
            </a:extLst>
          </p:cNvPr>
          <p:cNvSpPr/>
          <p:nvPr>
            <p:custDataLst>
              <p:tags r:id="rId9"/>
            </p:custDataLst>
          </p:nvPr>
        </p:nvSpPr>
        <p:spPr>
          <a:xfrm>
            <a:off x="552000" y="5137708"/>
            <a:ext cx="11088001" cy="392115"/>
          </a:xfrm>
          <a:prstGeom prst="rect">
            <a:avLst/>
          </a:prstGeom>
          <a:solidFill>
            <a:schemeClr val="bg1"/>
          </a:solidFill>
          <a:effectLst>
            <a:outerShdw blurRad="127000" algn="ctr" rotWithShape="0">
              <a:prstClr val="black">
                <a:alpha val="25000"/>
              </a:prstClr>
            </a:outerShdw>
          </a:effectLst>
        </p:spPr>
        <p:txBody>
          <a:bodyPr vert="horz" lIns="180000" tIns="180000" rIns="180000" bIns="180000" rtlCol="0" anchor="ctr">
            <a:noAutofit/>
          </a:bodyPr>
          <a:lstStyle/>
          <a:p>
            <a:pPr marL="540000" lvl="0" indent="-540000">
              <a:lnSpc>
                <a:spcPct val="120000"/>
              </a:lnSpc>
              <a:spcBef>
                <a:spcPts val="1200"/>
              </a:spcBef>
              <a:spcAft>
                <a:spcPts val="300"/>
              </a:spcAft>
              <a:buClr>
                <a:schemeClr val="tx2"/>
              </a:buClr>
              <a:buFont typeface="Wingdings" pitchFamily="2" charset="2"/>
              <a:buNone/>
              <a:tabLst>
                <a:tab pos="9063038" algn="r"/>
              </a:tabLst>
            </a:pPr>
            <a:r>
              <a:rPr lang="en-GB">
                <a:solidFill>
                  <a:schemeClr val="dk1"/>
                </a:solidFill>
                <a:cs typeface="Segoe UI Light" panose="020B0502040204020203" pitchFamily="34" charset="0"/>
              </a:rPr>
              <a:t>08 |	Productivity tools </a:t>
            </a:r>
            <a:r>
              <a:rPr lang="en-GB" u="dotted">
                <a:solidFill>
                  <a:schemeClr val="dk1"/>
                </a:solidFill>
                <a:uFill>
                  <a:solidFill>
                    <a:schemeClr val="accent2"/>
                  </a:solidFill>
                </a:uFill>
                <a:cs typeface="Segoe UI Light" panose="020B0502040204020203" pitchFamily="34" charset="0"/>
              </a:rPr>
              <a:t>	</a:t>
            </a:r>
          </a:p>
        </p:txBody>
      </p:sp>
      <p:sp>
        <p:nvSpPr>
          <p:cNvPr id="57" name="Background">
            <a:extLst>
              <a:ext uri="{FF2B5EF4-FFF2-40B4-BE49-F238E27FC236}">
                <a16:creationId xmlns:a16="http://schemas.microsoft.com/office/drawing/2014/main" id="{7D087F47-4D30-15BE-F533-FB4AC3FF4C4C}"/>
              </a:ext>
            </a:extLst>
          </p:cNvPr>
          <p:cNvSpPr/>
          <p:nvPr>
            <p:custDataLst>
              <p:tags r:id="rId10"/>
            </p:custDataLst>
          </p:nvPr>
        </p:nvSpPr>
        <p:spPr>
          <a:xfrm>
            <a:off x="552000" y="5628693"/>
            <a:ext cx="11088001" cy="392115"/>
          </a:xfrm>
          <a:prstGeom prst="rect">
            <a:avLst/>
          </a:prstGeom>
          <a:solidFill>
            <a:schemeClr val="bg1"/>
          </a:solidFill>
          <a:effectLst>
            <a:outerShdw blurRad="127000" algn="ctr" rotWithShape="0">
              <a:prstClr val="black">
                <a:alpha val="25000"/>
              </a:prstClr>
            </a:outerShdw>
          </a:effectLst>
        </p:spPr>
        <p:txBody>
          <a:bodyPr vert="horz" lIns="180000" tIns="180000" rIns="180000" bIns="180000" rtlCol="0" anchor="ctr">
            <a:noAutofit/>
          </a:bodyPr>
          <a:lstStyle/>
          <a:p>
            <a:pPr marL="540000" lvl="0" indent="-540000">
              <a:lnSpc>
                <a:spcPct val="120000"/>
              </a:lnSpc>
              <a:spcBef>
                <a:spcPts val="1200"/>
              </a:spcBef>
              <a:spcAft>
                <a:spcPts val="300"/>
              </a:spcAft>
              <a:buClr>
                <a:schemeClr val="tx2"/>
              </a:buClr>
              <a:buFont typeface="Wingdings" pitchFamily="2" charset="2"/>
              <a:buNone/>
              <a:tabLst>
                <a:tab pos="8970963" algn="r"/>
              </a:tabLst>
            </a:pPr>
            <a:r>
              <a:rPr lang="en-GB">
                <a:solidFill>
                  <a:schemeClr val="dk1"/>
                </a:solidFill>
                <a:cs typeface="Segoe UI Light" panose="020B0502040204020203" pitchFamily="34" charset="0"/>
              </a:rPr>
              <a:t>09 |	Layout tools </a:t>
            </a:r>
            <a:r>
              <a:rPr lang="en-GB" u="dotted">
                <a:solidFill>
                  <a:schemeClr val="dk1"/>
                </a:solidFill>
                <a:uFill>
                  <a:solidFill>
                    <a:schemeClr val="accent2"/>
                  </a:solidFill>
                </a:uFill>
                <a:cs typeface="Segoe UI Light" panose="020B0502040204020203" pitchFamily="34" charset="0"/>
              </a:rPr>
              <a:t>	</a:t>
            </a:r>
          </a:p>
        </p:txBody>
      </p:sp>
      <p:sp>
        <p:nvSpPr>
          <p:cNvPr id="7" name="Rectangle 6">
            <a:extLst>
              <a:ext uri="{FF2B5EF4-FFF2-40B4-BE49-F238E27FC236}">
                <a16:creationId xmlns:a16="http://schemas.microsoft.com/office/drawing/2014/main" id="{7544A0F6-0E3D-4013-B781-AE214DF8B6F9}"/>
              </a:ext>
            </a:extLst>
          </p:cNvPr>
          <p:cNvSpPr/>
          <p:nvPr>
            <p:custDataLst>
              <p:tags r:id="rId11"/>
            </p:custDataLst>
          </p:nvPr>
        </p:nvSpPr>
        <p:spPr>
          <a:xfrm>
            <a:off x="9831411" y="1763096"/>
            <a:ext cx="1665528" cy="267538"/>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565200" tIns="97200" rIns="97200" bIns="97200" rtlCol="0" anchor="ctr"/>
          <a:lstStyle/>
          <a:p>
            <a:pPr defTabSz="486000"/>
            <a:r>
              <a:rPr lang="en-GB" sz="1200">
                <a:solidFill>
                  <a:schemeClr val="dk1"/>
                </a:solidFill>
                <a:hlinkClick r:id="rId22"/>
              </a:rPr>
              <a:t>VIDEO</a:t>
            </a:r>
            <a:endParaRPr lang="en-GB" sz="1200">
              <a:solidFill>
                <a:schemeClr val="dk1"/>
              </a:solidFill>
            </a:endParaRPr>
          </a:p>
        </p:txBody>
      </p:sp>
      <p:grpSp>
        <p:nvGrpSpPr>
          <p:cNvPr id="8" name="Group 7">
            <a:extLst>
              <a:ext uri="{FF2B5EF4-FFF2-40B4-BE49-F238E27FC236}">
                <a16:creationId xmlns:a16="http://schemas.microsoft.com/office/drawing/2014/main" id="{08932CEB-00A4-4F7E-A9A7-045EF07A8A31}"/>
              </a:ext>
            </a:extLst>
          </p:cNvPr>
          <p:cNvGrpSpPr/>
          <p:nvPr/>
        </p:nvGrpSpPr>
        <p:grpSpPr>
          <a:xfrm>
            <a:off x="9831410" y="1763096"/>
            <a:ext cx="373324" cy="267538"/>
            <a:chOff x="9037263" y="1543920"/>
            <a:chExt cx="772762" cy="670560"/>
          </a:xfrm>
        </p:grpSpPr>
        <p:sp>
          <p:nvSpPr>
            <p:cNvPr id="13" name="Isosceles Triangle 12">
              <a:extLst>
                <a:ext uri="{FF2B5EF4-FFF2-40B4-BE49-F238E27FC236}">
                  <a16:creationId xmlns:a16="http://schemas.microsoft.com/office/drawing/2014/main" id="{91A40164-766D-407E-A559-3C3B0EE8FDE2}"/>
                </a:ext>
              </a:extLst>
            </p:cNvPr>
            <p:cNvSpPr/>
            <p:nvPr/>
          </p:nvSpPr>
          <p:spPr>
            <a:xfrm rot="16200000" flipV="1">
              <a:off x="9224137" y="1628591"/>
              <a:ext cx="670560" cy="501217"/>
            </a:xfrm>
            <a:prstGeom prst="triangl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err="1">
                <a:solidFill>
                  <a:schemeClr val="dk1"/>
                </a:solidFill>
              </a:endParaRPr>
            </a:p>
          </p:txBody>
        </p:sp>
        <p:sp>
          <p:nvSpPr>
            <p:cNvPr id="17" name="Isosceles Triangle 16">
              <a:extLst>
                <a:ext uri="{FF2B5EF4-FFF2-40B4-BE49-F238E27FC236}">
                  <a16:creationId xmlns:a16="http://schemas.microsoft.com/office/drawing/2014/main" id="{C57A33C7-7CAB-465E-BD22-5F14F8AAC481}"/>
                </a:ext>
              </a:extLst>
            </p:cNvPr>
            <p:cNvSpPr>
              <a:spLocks noChangeAspect="1"/>
            </p:cNvSpPr>
            <p:nvPr/>
          </p:nvSpPr>
          <p:spPr>
            <a:xfrm rot="16200000" flipV="1">
              <a:off x="8952592" y="1628591"/>
              <a:ext cx="670560" cy="501217"/>
            </a:xfrm>
            <a:prstGeom prst="triangl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err="1">
                <a:solidFill>
                  <a:schemeClr val="dk1"/>
                </a:solidFill>
              </a:endParaRPr>
            </a:p>
          </p:txBody>
        </p:sp>
      </p:grpSp>
      <p:sp>
        <p:nvSpPr>
          <p:cNvPr id="21" name="Rectangle 20">
            <a:extLst>
              <a:ext uri="{FF2B5EF4-FFF2-40B4-BE49-F238E27FC236}">
                <a16:creationId xmlns:a16="http://schemas.microsoft.com/office/drawing/2014/main" id="{6D99089E-7B2E-49E6-9727-3C54A0B2D2CA}"/>
              </a:ext>
            </a:extLst>
          </p:cNvPr>
          <p:cNvSpPr/>
          <p:nvPr>
            <p:custDataLst>
              <p:tags r:id="rId12"/>
            </p:custDataLst>
          </p:nvPr>
        </p:nvSpPr>
        <p:spPr>
          <a:xfrm>
            <a:off x="9831411" y="2254082"/>
            <a:ext cx="1665528" cy="267538"/>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565200" tIns="97200" rIns="97200" bIns="97200" rtlCol="0" anchor="ctr"/>
          <a:lstStyle/>
          <a:p>
            <a:pPr defTabSz="486000"/>
            <a:r>
              <a:rPr lang="en-GB" sz="1200">
                <a:solidFill>
                  <a:schemeClr val="dk1"/>
                </a:solidFill>
                <a:hlinkClick r:id="rId23"/>
              </a:rPr>
              <a:t>VIDEO</a:t>
            </a:r>
            <a:endParaRPr lang="en-GB" sz="1200">
              <a:solidFill>
                <a:schemeClr val="dk1"/>
              </a:solidFill>
            </a:endParaRPr>
          </a:p>
        </p:txBody>
      </p:sp>
      <p:grpSp>
        <p:nvGrpSpPr>
          <p:cNvPr id="22" name="Group 21">
            <a:extLst>
              <a:ext uri="{FF2B5EF4-FFF2-40B4-BE49-F238E27FC236}">
                <a16:creationId xmlns:a16="http://schemas.microsoft.com/office/drawing/2014/main" id="{200AC7CD-B9CC-4AD3-BE0A-9BC98BB24DD7}"/>
              </a:ext>
            </a:extLst>
          </p:cNvPr>
          <p:cNvGrpSpPr/>
          <p:nvPr/>
        </p:nvGrpSpPr>
        <p:grpSpPr>
          <a:xfrm>
            <a:off x="9831410" y="2254082"/>
            <a:ext cx="373324" cy="267538"/>
            <a:chOff x="9037263" y="1543920"/>
            <a:chExt cx="772762" cy="670560"/>
          </a:xfrm>
        </p:grpSpPr>
        <p:sp>
          <p:nvSpPr>
            <p:cNvPr id="23" name="Isosceles Triangle 22">
              <a:extLst>
                <a:ext uri="{FF2B5EF4-FFF2-40B4-BE49-F238E27FC236}">
                  <a16:creationId xmlns:a16="http://schemas.microsoft.com/office/drawing/2014/main" id="{9942B278-8183-49DC-8852-97E8B277927F}"/>
                </a:ext>
              </a:extLst>
            </p:cNvPr>
            <p:cNvSpPr/>
            <p:nvPr/>
          </p:nvSpPr>
          <p:spPr>
            <a:xfrm rot="16200000" flipV="1">
              <a:off x="9224137" y="1628591"/>
              <a:ext cx="670560" cy="501217"/>
            </a:xfrm>
            <a:prstGeom prst="triangl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err="1">
                <a:solidFill>
                  <a:schemeClr val="dk1"/>
                </a:solidFill>
              </a:endParaRPr>
            </a:p>
          </p:txBody>
        </p:sp>
        <p:sp>
          <p:nvSpPr>
            <p:cNvPr id="24" name="Isosceles Triangle 23">
              <a:extLst>
                <a:ext uri="{FF2B5EF4-FFF2-40B4-BE49-F238E27FC236}">
                  <a16:creationId xmlns:a16="http://schemas.microsoft.com/office/drawing/2014/main" id="{D7572F88-6E3C-4F71-A5A3-EAEB18079C47}"/>
                </a:ext>
              </a:extLst>
            </p:cNvPr>
            <p:cNvSpPr>
              <a:spLocks noChangeAspect="1"/>
            </p:cNvSpPr>
            <p:nvPr/>
          </p:nvSpPr>
          <p:spPr>
            <a:xfrm rot="16200000" flipV="1">
              <a:off x="8952592" y="1628591"/>
              <a:ext cx="670560" cy="501217"/>
            </a:xfrm>
            <a:prstGeom prst="triangl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err="1">
                <a:solidFill>
                  <a:schemeClr val="dk1"/>
                </a:solidFill>
              </a:endParaRPr>
            </a:p>
          </p:txBody>
        </p:sp>
      </p:grpSp>
      <p:sp>
        <p:nvSpPr>
          <p:cNvPr id="27" name="Rectangle 26">
            <a:extLst>
              <a:ext uri="{FF2B5EF4-FFF2-40B4-BE49-F238E27FC236}">
                <a16:creationId xmlns:a16="http://schemas.microsoft.com/office/drawing/2014/main" id="{E3C6151A-8069-488F-828D-2E30A3D3B25E}"/>
              </a:ext>
            </a:extLst>
          </p:cNvPr>
          <p:cNvSpPr/>
          <p:nvPr>
            <p:custDataLst>
              <p:tags r:id="rId13"/>
            </p:custDataLst>
          </p:nvPr>
        </p:nvSpPr>
        <p:spPr>
          <a:xfrm>
            <a:off x="9831411" y="2745067"/>
            <a:ext cx="1665528" cy="267538"/>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565200" tIns="97200" rIns="97200" bIns="97200" rtlCol="0" anchor="ctr"/>
          <a:lstStyle/>
          <a:p>
            <a:pPr defTabSz="486000"/>
            <a:r>
              <a:rPr lang="en-GB" sz="1200">
                <a:solidFill>
                  <a:schemeClr val="dk1"/>
                </a:solidFill>
                <a:hlinkClick r:id="rId24"/>
              </a:rPr>
              <a:t>VIDEO</a:t>
            </a:r>
            <a:endParaRPr lang="en-GB" sz="1200">
              <a:solidFill>
                <a:schemeClr val="dk1"/>
              </a:solidFill>
            </a:endParaRPr>
          </a:p>
        </p:txBody>
      </p:sp>
      <p:grpSp>
        <p:nvGrpSpPr>
          <p:cNvPr id="28" name="Group 27">
            <a:extLst>
              <a:ext uri="{FF2B5EF4-FFF2-40B4-BE49-F238E27FC236}">
                <a16:creationId xmlns:a16="http://schemas.microsoft.com/office/drawing/2014/main" id="{2CBD80E3-DE7D-48CC-B475-C69D059AC7AB}"/>
              </a:ext>
            </a:extLst>
          </p:cNvPr>
          <p:cNvGrpSpPr/>
          <p:nvPr/>
        </p:nvGrpSpPr>
        <p:grpSpPr>
          <a:xfrm>
            <a:off x="9831410" y="2745067"/>
            <a:ext cx="373324" cy="267538"/>
            <a:chOff x="9037263" y="1543920"/>
            <a:chExt cx="772762" cy="670560"/>
          </a:xfrm>
        </p:grpSpPr>
        <p:sp>
          <p:nvSpPr>
            <p:cNvPr id="29" name="Isosceles Triangle 28">
              <a:extLst>
                <a:ext uri="{FF2B5EF4-FFF2-40B4-BE49-F238E27FC236}">
                  <a16:creationId xmlns:a16="http://schemas.microsoft.com/office/drawing/2014/main" id="{205FD984-083B-4769-AF26-2621E65997E8}"/>
                </a:ext>
              </a:extLst>
            </p:cNvPr>
            <p:cNvSpPr/>
            <p:nvPr/>
          </p:nvSpPr>
          <p:spPr>
            <a:xfrm rot="16200000" flipV="1">
              <a:off x="9224137" y="1628591"/>
              <a:ext cx="670560" cy="501217"/>
            </a:xfrm>
            <a:prstGeom prst="triangl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err="1">
                <a:solidFill>
                  <a:schemeClr val="bg1"/>
                </a:solidFill>
              </a:endParaRPr>
            </a:p>
          </p:txBody>
        </p:sp>
        <p:sp>
          <p:nvSpPr>
            <p:cNvPr id="30" name="Isosceles Triangle 29">
              <a:extLst>
                <a:ext uri="{FF2B5EF4-FFF2-40B4-BE49-F238E27FC236}">
                  <a16:creationId xmlns:a16="http://schemas.microsoft.com/office/drawing/2014/main" id="{56921D39-B688-4AC5-8C91-A6A41D9EC9B0}"/>
                </a:ext>
              </a:extLst>
            </p:cNvPr>
            <p:cNvSpPr>
              <a:spLocks noChangeAspect="1"/>
            </p:cNvSpPr>
            <p:nvPr/>
          </p:nvSpPr>
          <p:spPr>
            <a:xfrm rot="16200000" flipV="1">
              <a:off x="8952592" y="1628591"/>
              <a:ext cx="670560" cy="501217"/>
            </a:xfrm>
            <a:prstGeom prst="triangl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err="1">
                <a:solidFill>
                  <a:schemeClr val="bg1"/>
                </a:solidFill>
              </a:endParaRPr>
            </a:p>
          </p:txBody>
        </p:sp>
      </p:grpSp>
      <p:sp>
        <p:nvSpPr>
          <p:cNvPr id="33" name="Rectangle 32">
            <a:extLst>
              <a:ext uri="{FF2B5EF4-FFF2-40B4-BE49-F238E27FC236}">
                <a16:creationId xmlns:a16="http://schemas.microsoft.com/office/drawing/2014/main" id="{1C79EED6-5EB9-451D-AF2A-6451C0DF44A8}"/>
              </a:ext>
            </a:extLst>
          </p:cNvPr>
          <p:cNvSpPr/>
          <p:nvPr>
            <p:custDataLst>
              <p:tags r:id="rId14"/>
            </p:custDataLst>
          </p:nvPr>
        </p:nvSpPr>
        <p:spPr>
          <a:xfrm>
            <a:off x="9831411" y="3727037"/>
            <a:ext cx="1665528" cy="267538"/>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565200" tIns="97200" rIns="97200" bIns="97200" rtlCol="0" anchor="ctr"/>
          <a:lstStyle/>
          <a:p>
            <a:pPr defTabSz="486000"/>
            <a:r>
              <a:rPr lang="en-GB" sz="1200">
                <a:solidFill>
                  <a:schemeClr val="dk1"/>
                </a:solidFill>
                <a:hlinkClick r:id="rId25"/>
              </a:rPr>
              <a:t>VIDEO</a:t>
            </a:r>
            <a:endParaRPr lang="en-GB" sz="1200">
              <a:solidFill>
                <a:schemeClr val="dk1"/>
              </a:solidFill>
            </a:endParaRPr>
          </a:p>
        </p:txBody>
      </p:sp>
      <p:grpSp>
        <p:nvGrpSpPr>
          <p:cNvPr id="34" name="Group 33">
            <a:extLst>
              <a:ext uri="{FF2B5EF4-FFF2-40B4-BE49-F238E27FC236}">
                <a16:creationId xmlns:a16="http://schemas.microsoft.com/office/drawing/2014/main" id="{2B63B08F-4A70-4026-A7B2-92D8CB4221F7}"/>
              </a:ext>
            </a:extLst>
          </p:cNvPr>
          <p:cNvGrpSpPr/>
          <p:nvPr/>
        </p:nvGrpSpPr>
        <p:grpSpPr>
          <a:xfrm>
            <a:off x="9831410" y="3727037"/>
            <a:ext cx="373324" cy="267538"/>
            <a:chOff x="9037263" y="1543920"/>
            <a:chExt cx="772762" cy="670560"/>
          </a:xfrm>
        </p:grpSpPr>
        <p:sp>
          <p:nvSpPr>
            <p:cNvPr id="35" name="Isosceles Triangle 34">
              <a:extLst>
                <a:ext uri="{FF2B5EF4-FFF2-40B4-BE49-F238E27FC236}">
                  <a16:creationId xmlns:a16="http://schemas.microsoft.com/office/drawing/2014/main" id="{0A7988B1-CC1B-4ED5-9AA6-2637ACC18279}"/>
                </a:ext>
              </a:extLst>
            </p:cNvPr>
            <p:cNvSpPr/>
            <p:nvPr/>
          </p:nvSpPr>
          <p:spPr>
            <a:xfrm rot="16200000" flipV="1">
              <a:off x="9224137" y="1628591"/>
              <a:ext cx="670560" cy="501217"/>
            </a:xfrm>
            <a:prstGeom prst="triangl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err="1">
                <a:solidFill>
                  <a:schemeClr val="dk1"/>
                </a:solidFill>
              </a:endParaRPr>
            </a:p>
          </p:txBody>
        </p:sp>
        <p:sp>
          <p:nvSpPr>
            <p:cNvPr id="36" name="Isosceles Triangle 35">
              <a:extLst>
                <a:ext uri="{FF2B5EF4-FFF2-40B4-BE49-F238E27FC236}">
                  <a16:creationId xmlns:a16="http://schemas.microsoft.com/office/drawing/2014/main" id="{5BD12CB4-ECFB-4E48-A64A-1D1EE1E6771C}"/>
                </a:ext>
              </a:extLst>
            </p:cNvPr>
            <p:cNvSpPr>
              <a:spLocks noChangeAspect="1"/>
            </p:cNvSpPr>
            <p:nvPr/>
          </p:nvSpPr>
          <p:spPr>
            <a:xfrm rot="16200000" flipV="1">
              <a:off x="8952592" y="1628591"/>
              <a:ext cx="670560" cy="501217"/>
            </a:xfrm>
            <a:prstGeom prst="triangl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err="1">
                <a:solidFill>
                  <a:schemeClr val="dk1"/>
                </a:solidFill>
              </a:endParaRPr>
            </a:p>
          </p:txBody>
        </p:sp>
      </p:grpSp>
      <p:sp>
        <p:nvSpPr>
          <p:cNvPr id="40" name="Rectangle 39">
            <a:extLst>
              <a:ext uri="{FF2B5EF4-FFF2-40B4-BE49-F238E27FC236}">
                <a16:creationId xmlns:a16="http://schemas.microsoft.com/office/drawing/2014/main" id="{058F0A41-4C9B-4845-9A48-A06E6C7AE7F6}"/>
              </a:ext>
            </a:extLst>
          </p:cNvPr>
          <p:cNvSpPr/>
          <p:nvPr>
            <p:custDataLst>
              <p:tags r:id="rId15"/>
            </p:custDataLst>
          </p:nvPr>
        </p:nvSpPr>
        <p:spPr>
          <a:xfrm>
            <a:off x="9831411" y="3236052"/>
            <a:ext cx="1665528" cy="267538"/>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565200" tIns="97200" rIns="97200" bIns="97200" rtlCol="0" anchor="ctr"/>
          <a:lstStyle/>
          <a:p>
            <a:pPr defTabSz="486000"/>
            <a:r>
              <a:rPr lang="en-GB" sz="1200">
                <a:solidFill>
                  <a:schemeClr val="dk1"/>
                </a:solidFill>
                <a:hlinkClick r:id="rId26"/>
              </a:rPr>
              <a:t>VIDEO</a:t>
            </a:r>
            <a:endParaRPr lang="en-GB" sz="1200">
              <a:solidFill>
                <a:schemeClr val="dk1"/>
              </a:solidFill>
            </a:endParaRPr>
          </a:p>
        </p:txBody>
      </p:sp>
      <p:grpSp>
        <p:nvGrpSpPr>
          <p:cNvPr id="41" name="Group 40">
            <a:extLst>
              <a:ext uri="{FF2B5EF4-FFF2-40B4-BE49-F238E27FC236}">
                <a16:creationId xmlns:a16="http://schemas.microsoft.com/office/drawing/2014/main" id="{A334F3E6-F17D-46C3-9BEC-3BF4D5834320}"/>
              </a:ext>
            </a:extLst>
          </p:cNvPr>
          <p:cNvGrpSpPr/>
          <p:nvPr/>
        </p:nvGrpSpPr>
        <p:grpSpPr>
          <a:xfrm>
            <a:off x="9831410" y="3236052"/>
            <a:ext cx="373324" cy="267538"/>
            <a:chOff x="9037263" y="1543920"/>
            <a:chExt cx="772762" cy="670560"/>
          </a:xfrm>
        </p:grpSpPr>
        <p:sp>
          <p:nvSpPr>
            <p:cNvPr id="42" name="Isosceles Triangle 41">
              <a:extLst>
                <a:ext uri="{FF2B5EF4-FFF2-40B4-BE49-F238E27FC236}">
                  <a16:creationId xmlns:a16="http://schemas.microsoft.com/office/drawing/2014/main" id="{FF963A47-C067-4EAD-AD33-14621B73EFD4}"/>
                </a:ext>
              </a:extLst>
            </p:cNvPr>
            <p:cNvSpPr/>
            <p:nvPr/>
          </p:nvSpPr>
          <p:spPr>
            <a:xfrm rot="16200000" flipV="1">
              <a:off x="9224137" y="1628591"/>
              <a:ext cx="670560" cy="501217"/>
            </a:xfrm>
            <a:prstGeom prst="triangl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err="1">
                <a:solidFill>
                  <a:schemeClr val="bg1"/>
                </a:solidFill>
              </a:endParaRPr>
            </a:p>
          </p:txBody>
        </p:sp>
        <p:sp>
          <p:nvSpPr>
            <p:cNvPr id="43" name="Isosceles Triangle 42">
              <a:extLst>
                <a:ext uri="{FF2B5EF4-FFF2-40B4-BE49-F238E27FC236}">
                  <a16:creationId xmlns:a16="http://schemas.microsoft.com/office/drawing/2014/main" id="{9C2BDF44-6175-4883-8016-AD49CB392087}"/>
                </a:ext>
              </a:extLst>
            </p:cNvPr>
            <p:cNvSpPr>
              <a:spLocks noChangeAspect="1"/>
            </p:cNvSpPr>
            <p:nvPr/>
          </p:nvSpPr>
          <p:spPr>
            <a:xfrm rot="16200000" flipV="1">
              <a:off x="8952592" y="1628591"/>
              <a:ext cx="670560" cy="501217"/>
            </a:xfrm>
            <a:prstGeom prst="triangl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err="1">
                <a:solidFill>
                  <a:schemeClr val="bg1"/>
                </a:solidFill>
              </a:endParaRPr>
            </a:p>
          </p:txBody>
        </p:sp>
      </p:grpSp>
      <p:sp>
        <p:nvSpPr>
          <p:cNvPr id="59" name="Rectangle 58">
            <a:extLst>
              <a:ext uri="{FF2B5EF4-FFF2-40B4-BE49-F238E27FC236}">
                <a16:creationId xmlns:a16="http://schemas.microsoft.com/office/drawing/2014/main" id="{49CAB879-62F4-1C85-9E7A-8E5C5989D8FE}"/>
              </a:ext>
            </a:extLst>
          </p:cNvPr>
          <p:cNvSpPr/>
          <p:nvPr>
            <p:custDataLst>
              <p:tags r:id="rId16"/>
            </p:custDataLst>
          </p:nvPr>
        </p:nvSpPr>
        <p:spPr>
          <a:xfrm>
            <a:off x="9831411" y="4218022"/>
            <a:ext cx="1665528" cy="267538"/>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565200" tIns="97200" rIns="97200" bIns="97200" rtlCol="0" anchor="ctr"/>
          <a:lstStyle/>
          <a:p>
            <a:pPr defTabSz="486000"/>
            <a:r>
              <a:rPr lang="en-GB" sz="1200">
                <a:solidFill>
                  <a:schemeClr val="dk1"/>
                </a:solidFill>
                <a:hlinkClick r:id="rId27"/>
              </a:rPr>
              <a:t>VIDEO</a:t>
            </a:r>
            <a:endParaRPr lang="en-GB" sz="1200">
              <a:solidFill>
                <a:schemeClr val="dk1"/>
              </a:solidFill>
            </a:endParaRPr>
          </a:p>
        </p:txBody>
      </p:sp>
      <p:grpSp>
        <p:nvGrpSpPr>
          <p:cNvPr id="60" name="Group 59">
            <a:extLst>
              <a:ext uri="{FF2B5EF4-FFF2-40B4-BE49-F238E27FC236}">
                <a16:creationId xmlns:a16="http://schemas.microsoft.com/office/drawing/2014/main" id="{F32BCCA4-358D-C8ED-19B0-F02775D4492C}"/>
              </a:ext>
            </a:extLst>
          </p:cNvPr>
          <p:cNvGrpSpPr/>
          <p:nvPr/>
        </p:nvGrpSpPr>
        <p:grpSpPr>
          <a:xfrm>
            <a:off x="9831410" y="4218022"/>
            <a:ext cx="373324" cy="267538"/>
            <a:chOff x="9037263" y="1543920"/>
            <a:chExt cx="772762" cy="670560"/>
          </a:xfrm>
        </p:grpSpPr>
        <p:sp>
          <p:nvSpPr>
            <p:cNvPr id="61" name="Isosceles Triangle 60">
              <a:extLst>
                <a:ext uri="{FF2B5EF4-FFF2-40B4-BE49-F238E27FC236}">
                  <a16:creationId xmlns:a16="http://schemas.microsoft.com/office/drawing/2014/main" id="{18D400EC-5F12-1F77-573D-697F145FB8A7}"/>
                </a:ext>
              </a:extLst>
            </p:cNvPr>
            <p:cNvSpPr/>
            <p:nvPr/>
          </p:nvSpPr>
          <p:spPr>
            <a:xfrm rot="16200000" flipV="1">
              <a:off x="9224137" y="1628591"/>
              <a:ext cx="670560" cy="501217"/>
            </a:xfrm>
            <a:prstGeom prst="triangl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err="1">
                <a:solidFill>
                  <a:schemeClr val="dk1"/>
                </a:solidFill>
              </a:endParaRPr>
            </a:p>
          </p:txBody>
        </p:sp>
        <p:sp>
          <p:nvSpPr>
            <p:cNvPr id="62" name="Isosceles Triangle 61">
              <a:extLst>
                <a:ext uri="{FF2B5EF4-FFF2-40B4-BE49-F238E27FC236}">
                  <a16:creationId xmlns:a16="http://schemas.microsoft.com/office/drawing/2014/main" id="{8113E9FC-55C8-7391-C3FE-EDC0D77F9A72}"/>
                </a:ext>
              </a:extLst>
            </p:cNvPr>
            <p:cNvSpPr>
              <a:spLocks noChangeAspect="1"/>
            </p:cNvSpPr>
            <p:nvPr/>
          </p:nvSpPr>
          <p:spPr>
            <a:xfrm rot="16200000" flipV="1">
              <a:off x="8952592" y="1628591"/>
              <a:ext cx="670560" cy="501217"/>
            </a:xfrm>
            <a:prstGeom prst="triangl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err="1">
                <a:solidFill>
                  <a:schemeClr val="dk1"/>
                </a:solidFill>
              </a:endParaRPr>
            </a:p>
          </p:txBody>
        </p:sp>
      </p:grpSp>
      <p:sp>
        <p:nvSpPr>
          <p:cNvPr id="65" name="Rectangle 64">
            <a:extLst>
              <a:ext uri="{FF2B5EF4-FFF2-40B4-BE49-F238E27FC236}">
                <a16:creationId xmlns:a16="http://schemas.microsoft.com/office/drawing/2014/main" id="{C4A7AA9C-91DD-E5F4-D6AA-95F81D860764}"/>
              </a:ext>
            </a:extLst>
          </p:cNvPr>
          <p:cNvSpPr/>
          <p:nvPr>
            <p:custDataLst>
              <p:tags r:id="rId17"/>
            </p:custDataLst>
          </p:nvPr>
        </p:nvSpPr>
        <p:spPr>
          <a:xfrm>
            <a:off x="9831411" y="4709008"/>
            <a:ext cx="1665528" cy="267538"/>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565200" tIns="97200" rIns="97200" bIns="97200" rtlCol="0" anchor="ctr"/>
          <a:lstStyle/>
          <a:p>
            <a:pPr defTabSz="486000"/>
            <a:r>
              <a:rPr lang="en-GB" sz="1200">
                <a:solidFill>
                  <a:schemeClr val="dk1"/>
                </a:solidFill>
                <a:hlinkClick r:id="rId28"/>
              </a:rPr>
              <a:t>VIDEO</a:t>
            </a:r>
            <a:endParaRPr lang="en-GB" sz="1200">
              <a:solidFill>
                <a:schemeClr val="dk1"/>
              </a:solidFill>
            </a:endParaRPr>
          </a:p>
        </p:txBody>
      </p:sp>
      <p:grpSp>
        <p:nvGrpSpPr>
          <p:cNvPr id="66" name="Group 65">
            <a:extLst>
              <a:ext uri="{FF2B5EF4-FFF2-40B4-BE49-F238E27FC236}">
                <a16:creationId xmlns:a16="http://schemas.microsoft.com/office/drawing/2014/main" id="{51D19D05-B9A8-F82B-60C7-C725D9477995}"/>
              </a:ext>
            </a:extLst>
          </p:cNvPr>
          <p:cNvGrpSpPr/>
          <p:nvPr/>
        </p:nvGrpSpPr>
        <p:grpSpPr>
          <a:xfrm>
            <a:off x="9831410" y="4709008"/>
            <a:ext cx="373324" cy="267538"/>
            <a:chOff x="9037263" y="1543920"/>
            <a:chExt cx="772762" cy="670560"/>
          </a:xfrm>
        </p:grpSpPr>
        <p:sp>
          <p:nvSpPr>
            <p:cNvPr id="67" name="Isosceles Triangle 66">
              <a:extLst>
                <a:ext uri="{FF2B5EF4-FFF2-40B4-BE49-F238E27FC236}">
                  <a16:creationId xmlns:a16="http://schemas.microsoft.com/office/drawing/2014/main" id="{BB6109F1-FE45-6186-9359-F802D8A5DB0A}"/>
                </a:ext>
              </a:extLst>
            </p:cNvPr>
            <p:cNvSpPr/>
            <p:nvPr/>
          </p:nvSpPr>
          <p:spPr>
            <a:xfrm rot="16200000" flipV="1">
              <a:off x="9224137" y="1628591"/>
              <a:ext cx="670560" cy="501217"/>
            </a:xfrm>
            <a:prstGeom prst="triangl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err="1">
                <a:solidFill>
                  <a:schemeClr val="dk1"/>
                </a:solidFill>
              </a:endParaRPr>
            </a:p>
          </p:txBody>
        </p:sp>
        <p:sp>
          <p:nvSpPr>
            <p:cNvPr id="68" name="Isosceles Triangle 67">
              <a:extLst>
                <a:ext uri="{FF2B5EF4-FFF2-40B4-BE49-F238E27FC236}">
                  <a16:creationId xmlns:a16="http://schemas.microsoft.com/office/drawing/2014/main" id="{53499B76-88C3-E315-734C-ECEFFB6A4259}"/>
                </a:ext>
              </a:extLst>
            </p:cNvPr>
            <p:cNvSpPr>
              <a:spLocks noChangeAspect="1"/>
            </p:cNvSpPr>
            <p:nvPr/>
          </p:nvSpPr>
          <p:spPr>
            <a:xfrm rot="16200000" flipV="1">
              <a:off x="8952592" y="1628591"/>
              <a:ext cx="670560" cy="501217"/>
            </a:xfrm>
            <a:prstGeom prst="triangl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err="1">
                <a:solidFill>
                  <a:schemeClr val="dk1"/>
                </a:solidFill>
              </a:endParaRPr>
            </a:p>
          </p:txBody>
        </p:sp>
      </p:grpSp>
      <p:sp>
        <p:nvSpPr>
          <p:cNvPr id="71" name="Rectangle 70">
            <a:extLst>
              <a:ext uri="{FF2B5EF4-FFF2-40B4-BE49-F238E27FC236}">
                <a16:creationId xmlns:a16="http://schemas.microsoft.com/office/drawing/2014/main" id="{DAD13D64-2755-2CB8-8AF9-913905415AFD}"/>
              </a:ext>
            </a:extLst>
          </p:cNvPr>
          <p:cNvSpPr/>
          <p:nvPr>
            <p:custDataLst>
              <p:tags r:id="rId18"/>
            </p:custDataLst>
          </p:nvPr>
        </p:nvSpPr>
        <p:spPr>
          <a:xfrm>
            <a:off x="9831411" y="5199993"/>
            <a:ext cx="1665528" cy="267538"/>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565200" tIns="97200" rIns="97200" bIns="97200" rtlCol="0" anchor="ctr"/>
          <a:lstStyle/>
          <a:p>
            <a:pPr defTabSz="486000"/>
            <a:r>
              <a:rPr lang="en-GB" sz="1200">
                <a:solidFill>
                  <a:schemeClr val="dk1"/>
                </a:solidFill>
                <a:hlinkClick r:id="rId29"/>
              </a:rPr>
              <a:t>VIDEO</a:t>
            </a:r>
            <a:endParaRPr lang="en-GB" sz="1200">
              <a:solidFill>
                <a:schemeClr val="dk1"/>
              </a:solidFill>
            </a:endParaRPr>
          </a:p>
        </p:txBody>
      </p:sp>
      <p:grpSp>
        <p:nvGrpSpPr>
          <p:cNvPr id="72" name="Group 71">
            <a:extLst>
              <a:ext uri="{FF2B5EF4-FFF2-40B4-BE49-F238E27FC236}">
                <a16:creationId xmlns:a16="http://schemas.microsoft.com/office/drawing/2014/main" id="{73BEB6E9-845C-892F-18AF-B73146A60CD7}"/>
              </a:ext>
            </a:extLst>
          </p:cNvPr>
          <p:cNvGrpSpPr/>
          <p:nvPr/>
        </p:nvGrpSpPr>
        <p:grpSpPr>
          <a:xfrm>
            <a:off x="9831410" y="5199993"/>
            <a:ext cx="373324" cy="267538"/>
            <a:chOff x="9037263" y="1543920"/>
            <a:chExt cx="772762" cy="670560"/>
          </a:xfrm>
        </p:grpSpPr>
        <p:sp>
          <p:nvSpPr>
            <p:cNvPr id="73" name="Isosceles Triangle 72">
              <a:extLst>
                <a:ext uri="{FF2B5EF4-FFF2-40B4-BE49-F238E27FC236}">
                  <a16:creationId xmlns:a16="http://schemas.microsoft.com/office/drawing/2014/main" id="{C8423FEE-1ACB-FDE7-0E2B-ADA4D2086831}"/>
                </a:ext>
              </a:extLst>
            </p:cNvPr>
            <p:cNvSpPr/>
            <p:nvPr/>
          </p:nvSpPr>
          <p:spPr>
            <a:xfrm rot="16200000" flipV="1">
              <a:off x="9224137" y="1628591"/>
              <a:ext cx="670560" cy="501217"/>
            </a:xfrm>
            <a:prstGeom prst="triangl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err="1">
                <a:solidFill>
                  <a:schemeClr val="dk1"/>
                </a:solidFill>
              </a:endParaRPr>
            </a:p>
          </p:txBody>
        </p:sp>
        <p:sp>
          <p:nvSpPr>
            <p:cNvPr id="74" name="Isosceles Triangle 73">
              <a:extLst>
                <a:ext uri="{FF2B5EF4-FFF2-40B4-BE49-F238E27FC236}">
                  <a16:creationId xmlns:a16="http://schemas.microsoft.com/office/drawing/2014/main" id="{9BD5F474-596F-D59F-B1B7-35217E295322}"/>
                </a:ext>
              </a:extLst>
            </p:cNvPr>
            <p:cNvSpPr>
              <a:spLocks noChangeAspect="1"/>
            </p:cNvSpPr>
            <p:nvPr/>
          </p:nvSpPr>
          <p:spPr>
            <a:xfrm rot="16200000" flipV="1">
              <a:off x="8952592" y="1628591"/>
              <a:ext cx="670560" cy="501217"/>
            </a:xfrm>
            <a:prstGeom prst="triangl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err="1">
                <a:solidFill>
                  <a:schemeClr val="dk1"/>
                </a:solidFill>
              </a:endParaRPr>
            </a:p>
          </p:txBody>
        </p:sp>
      </p:grpSp>
      <p:sp>
        <p:nvSpPr>
          <p:cNvPr id="77" name="Rectangle 76">
            <a:extLst>
              <a:ext uri="{FF2B5EF4-FFF2-40B4-BE49-F238E27FC236}">
                <a16:creationId xmlns:a16="http://schemas.microsoft.com/office/drawing/2014/main" id="{71F74023-0852-49BA-1C32-FCFAF643B00B}"/>
              </a:ext>
            </a:extLst>
          </p:cNvPr>
          <p:cNvSpPr/>
          <p:nvPr>
            <p:custDataLst>
              <p:tags r:id="rId19"/>
            </p:custDataLst>
          </p:nvPr>
        </p:nvSpPr>
        <p:spPr>
          <a:xfrm>
            <a:off x="9831411" y="5690980"/>
            <a:ext cx="1665528" cy="267538"/>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565200" tIns="97200" rIns="97200" bIns="97200" rtlCol="0" anchor="ctr"/>
          <a:lstStyle/>
          <a:p>
            <a:pPr defTabSz="486000"/>
            <a:r>
              <a:rPr lang="en-GB" sz="1200">
                <a:solidFill>
                  <a:schemeClr val="dk1"/>
                </a:solidFill>
                <a:hlinkClick r:id="rId30"/>
              </a:rPr>
              <a:t>VIDEO</a:t>
            </a:r>
            <a:endParaRPr lang="en-GB" sz="1200">
              <a:solidFill>
                <a:schemeClr val="dk1"/>
              </a:solidFill>
            </a:endParaRPr>
          </a:p>
        </p:txBody>
      </p:sp>
      <p:grpSp>
        <p:nvGrpSpPr>
          <p:cNvPr id="78" name="Group 77">
            <a:extLst>
              <a:ext uri="{FF2B5EF4-FFF2-40B4-BE49-F238E27FC236}">
                <a16:creationId xmlns:a16="http://schemas.microsoft.com/office/drawing/2014/main" id="{26C5F261-A504-0518-E251-82E00E29FCEF}"/>
              </a:ext>
            </a:extLst>
          </p:cNvPr>
          <p:cNvGrpSpPr/>
          <p:nvPr/>
        </p:nvGrpSpPr>
        <p:grpSpPr>
          <a:xfrm>
            <a:off x="9831410" y="5690980"/>
            <a:ext cx="373324" cy="267538"/>
            <a:chOff x="9037263" y="1543920"/>
            <a:chExt cx="772762" cy="670560"/>
          </a:xfrm>
        </p:grpSpPr>
        <p:sp>
          <p:nvSpPr>
            <p:cNvPr id="79" name="Isosceles Triangle 78">
              <a:extLst>
                <a:ext uri="{FF2B5EF4-FFF2-40B4-BE49-F238E27FC236}">
                  <a16:creationId xmlns:a16="http://schemas.microsoft.com/office/drawing/2014/main" id="{45B0E371-A1AC-EB3E-F8D7-26CCF6221AC4}"/>
                </a:ext>
              </a:extLst>
            </p:cNvPr>
            <p:cNvSpPr/>
            <p:nvPr/>
          </p:nvSpPr>
          <p:spPr>
            <a:xfrm rot="16200000" flipV="1">
              <a:off x="9224137" y="1628591"/>
              <a:ext cx="670560" cy="501217"/>
            </a:xfrm>
            <a:prstGeom prst="triangl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err="1">
                <a:solidFill>
                  <a:schemeClr val="dk1"/>
                </a:solidFill>
              </a:endParaRPr>
            </a:p>
          </p:txBody>
        </p:sp>
        <p:sp>
          <p:nvSpPr>
            <p:cNvPr id="80" name="Isosceles Triangle 79">
              <a:extLst>
                <a:ext uri="{FF2B5EF4-FFF2-40B4-BE49-F238E27FC236}">
                  <a16:creationId xmlns:a16="http://schemas.microsoft.com/office/drawing/2014/main" id="{876E5E6E-769A-7143-5C68-3BC0E154103C}"/>
                </a:ext>
              </a:extLst>
            </p:cNvPr>
            <p:cNvSpPr>
              <a:spLocks noChangeAspect="1"/>
            </p:cNvSpPr>
            <p:nvPr/>
          </p:nvSpPr>
          <p:spPr>
            <a:xfrm rot="16200000" flipV="1">
              <a:off x="8952592" y="1628591"/>
              <a:ext cx="670560" cy="501217"/>
            </a:xfrm>
            <a:prstGeom prst="triangl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err="1">
                <a:solidFill>
                  <a:schemeClr val="dk1"/>
                </a:solidFill>
              </a:endParaRPr>
            </a:p>
          </p:txBody>
        </p:sp>
      </p:grpSp>
    </p:spTree>
    <p:custDataLst>
      <p:tags r:id="rId1"/>
    </p:custDataLst>
    <p:extLst>
      <p:ext uri="{BB962C8B-B14F-4D97-AF65-F5344CB8AC3E}">
        <p14:creationId xmlns:p14="http://schemas.microsoft.com/office/powerpoint/2010/main" val="2364354543"/>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B2A43B1-DCA6-4860-9AAE-EB59D845466B}"/>
              </a:ext>
            </a:extLst>
          </p:cNvPr>
          <p:cNvSpPr>
            <a:spLocks noGrp="1"/>
          </p:cNvSpPr>
          <p:nvPr>
            <p:ph type="subTitle" idx="1"/>
          </p:nvPr>
        </p:nvSpPr>
        <p:spPr>
          <a:xfrm>
            <a:off x="0" y="838799"/>
            <a:ext cx="3454399" cy="2641600"/>
          </a:xfrm>
        </p:spPr>
        <p:txBody>
          <a:bodyPr/>
          <a:lstStyle/>
          <a:p>
            <a:r>
              <a:rPr lang="en-GB" dirty="0"/>
              <a:t>02</a:t>
            </a:r>
          </a:p>
        </p:txBody>
      </p:sp>
      <p:sp>
        <p:nvSpPr>
          <p:cNvPr id="2" name="Title 1">
            <a:extLst>
              <a:ext uri="{FF2B5EF4-FFF2-40B4-BE49-F238E27FC236}">
                <a16:creationId xmlns:a16="http://schemas.microsoft.com/office/drawing/2014/main" id="{86A8C299-6C0E-4086-8CE9-CB0AD0131F10}"/>
              </a:ext>
            </a:extLst>
          </p:cNvPr>
          <p:cNvSpPr>
            <a:spLocks noGrp="1"/>
          </p:cNvSpPr>
          <p:nvPr>
            <p:ph type="title"/>
          </p:nvPr>
        </p:nvSpPr>
        <p:spPr>
          <a:xfrm>
            <a:off x="3454400" y="838799"/>
            <a:ext cx="4958080" cy="2641601"/>
          </a:xfrm>
        </p:spPr>
        <p:txBody>
          <a:bodyPr/>
          <a:lstStyle/>
          <a:p>
            <a:r>
              <a:rPr lang="en-GB" dirty="0">
                <a:solidFill>
                  <a:srgbClr val="F07900"/>
                </a:solidFill>
              </a:rPr>
              <a:t>empower® Lite</a:t>
            </a:r>
            <a:br>
              <a:rPr lang="en-GB" dirty="0">
                <a:solidFill>
                  <a:srgbClr val="F07900"/>
                </a:solidFill>
              </a:rPr>
            </a:br>
            <a:r>
              <a:rPr lang="en-GB" dirty="0">
                <a:solidFill>
                  <a:srgbClr val="F07900"/>
                </a:solidFill>
              </a:rPr>
              <a:t>Toolbar guides</a:t>
            </a:r>
            <a:endParaRPr lang="en-GB" dirty="0">
              <a:solidFill>
                <a:schemeClr val="accent4"/>
              </a:solidFill>
            </a:endParaRPr>
          </a:p>
        </p:txBody>
      </p:sp>
    </p:spTree>
    <p:custDataLst>
      <p:tags r:id="rId1"/>
    </p:custDataLst>
    <p:extLst>
      <p:ext uri="{BB962C8B-B14F-4D97-AF65-F5344CB8AC3E}">
        <p14:creationId xmlns:p14="http://schemas.microsoft.com/office/powerpoint/2010/main" val="1245827873"/>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6020D-FBE8-4C44-A06A-FB706FF2BB7E}"/>
              </a:ext>
            </a:extLst>
          </p:cNvPr>
          <p:cNvSpPr>
            <a:spLocks noGrp="1"/>
          </p:cNvSpPr>
          <p:nvPr>
            <p:ph type="title"/>
          </p:nvPr>
        </p:nvSpPr>
        <p:spPr/>
        <p:txBody>
          <a:bodyPr/>
          <a:lstStyle/>
          <a:p>
            <a:r>
              <a:rPr lang="en-GB" dirty="0"/>
              <a:t>The empower® Lite ribbon – video guides</a:t>
            </a:r>
          </a:p>
        </p:txBody>
      </p:sp>
      <p:cxnSp>
        <p:nvCxnSpPr>
          <p:cNvPr id="24" name="Straight Connector 32">
            <a:extLst>
              <a:ext uri="{FF2B5EF4-FFF2-40B4-BE49-F238E27FC236}">
                <a16:creationId xmlns:a16="http://schemas.microsoft.com/office/drawing/2014/main" id="{5E29A5DA-6770-474D-A0DA-E82040ABFBF7}"/>
              </a:ext>
            </a:extLst>
          </p:cNvPr>
          <p:cNvCxnSpPr>
            <a:stCxn id="34" idx="2"/>
            <a:endCxn id="18" idx="0"/>
          </p:cNvCxnSpPr>
          <p:nvPr/>
        </p:nvCxnSpPr>
        <p:spPr>
          <a:xfrm flipH="1">
            <a:off x="3091149" y="2667658"/>
            <a:ext cx="0" cy="1936124"/>
          </a:xfrm>
          <a:prstGeom prst="straightConnector1">
            <a:avLst/>
          </a:prstGeom>
          <a:ln w="12700"/>
        </p:spPr>
        <p:style>
          <a:lnRef idx="1">
            <a:schemeClr val="accent1"/>
          </a:lnRef>
          <a:fillRef idx="0">
            <a:schemeClr val="accent1"/>
          </a:fillRef>
          <a:effectRef idx="0">
            <a:schemeClr val="accent1"/>
          </a:effectRef>
          <a:fontRef idx="minor">
            <a:schemeClr val="tx1"/>
          </a:fontRef>
        </p:style>
      </p:cxnSp>
      <p:cxnSp>
        <p:nvCxnSpPr>
          <p:cNvPr id="39" name="Straight Connector 32">
            <a:extLst>
              <a:ext uri="{FF2B5EF4-FFF2-40B4-BE49-F238E27FC236}">
                <a16:creationId xmlns:a16="http://schemas.microsoft.com/office/drawing/2014/main" id="{4E93351D-0145-40BE-81EE-7ACBB066C95E}"/>
              </a:ext>
            </a:extLst>
          </p:cNvPr>
          <p:cNvCxnSpPr>
            <a:stCxn id="35" idx="2"/>
            <a:endCxn id="37" idx="0"/>
          </p:cNvCxnSpPr>
          <p:nvPr/>
        </p:nvCxnSpPr>
        <p:spPr>
          <a:xfrm flipH="1">
            <a:off x="4223730" y="2667658"/>
            <a:ext cx="0" cy="2780842"/>
          </a:xfrm>
          <a:prstGeom prst="straightConnector1">
            <a:avLst/>
          </a:prstGeom>
          <a:ln w="12700"/>
        </p:spPr>
        <p:style>
          <a:lnRef idx="1">
            <a:schemeClr val="accent1"/>
          </a:lnRef>
          <a:fillRef idx="0">
            <a:schemeClr val="accent1"/>
          </a:fillRef>
          <a:effectRef idx="0">
            <a:schemeClr val="accent1"/>
          </a:effectRef>
          <a:fontRef idx="minor">
            <a:schemeClr val="tx1"/>
          </a:fontRef>
        </p:style>
      </p:cxnSp>
      <p:cxnSp>
        <p:nvCxnSpPr>
          <p:cNvPr id="53" name="Straight Connector 32">
            <a:extLst>
              <a:ext uri="{FF2B5EF4-FFF2-40B4-BE49-F238E27FC236}">
                <a16:creationId xmlns:a16="http://schemas.microsoft.com/office/drawing/2014/main" id="{5B160ADC-F51F-4704-85AC-2ACD7185D5CF}"/>
              </a:ext>
            </a:extLst>
          </p:cNvPr>
          <p:cNvCxnSpPr/>
          <p:nvPr/>
        </p:nvCxnSpPr>
        <p:spPr>
          <a:xfrm flipH="1">
            <a:off x="5174229" y="2362199"/>
            <a:ext cx="0" cy="200768"/>
          </a:xfrm>
          <a:prstGeom prst="straightConnector1">
            <a:avLst/>
          </a:prstGeom>
          <a:ln w="12700"/>
        </p:spPr>
        <p:style>
          <a:lnRef idx="1">
            <a:schemeClr val="accent1"/>
          </a:lnRef>
          <a:fillRef idx="0">
            <a:schemeClr val="accent1"/>
          </a:fillRef>
          <a:effectRef idx="0">
            <a:schemeClr val="accent1"/>
          </a:effectRef>
          <a:fontRef idx="minor">
            <a:schemeClr val="tx1"/>
          </a:fontRef>
        </p:style>
      </p:cxnSp>
      <p:cxnSp>
        <p:nvCxnSpPr>
          <p:cNvPr id="70" name="Straight Connector 32">
            <a:extLst>
              <a:ext uri="{FF2B5EF4-FFF2-40B4-BE49-F238E27FC236}">
                <a16:creationId xmlns:a16="http://schemas.microsoft.com/office/drawing/2014/main" id="{80EA0BA9-5E39-4EBB-A44D-4C6DD7955D7D}"/>
              </a:ext>
            </a:extLst>
          </p:cNvPr>
          <p:cNvCxnSpPr/>
          <p:nvPr/>
        </p:nvCxnSpPr>
        <p:spPr>
          <a:xfrm flipH="1">
            <a:off x="7212512" y="2608448"/>
            <a:ext cx="0" cy="2840052"/>
          </a:xfrm>
          <a:prstGeom prst="straightConnector1">
            <a:avLst/>
          </a:prstGeom>
          <a:ln w="12700"/>
        </p:spPr>
        <p:style>
          <a:lnRef idx="1">
            <a:schemeClr val="accent1"/>
          </a:lnRef>
          <a:fillRef idx="0">
            <a:schemeClr val="accent1"/>
          </a:fillRef>
          <a:effectRef idx="0">
            <a:schemeClr val="accent1"/>
          </a:effectRef>
          <a:fontRef idx="minor">
            <a:schemeClr val="tx1"/>
          </a:fontRef>
        </p:style>
      </p:cxnSp>
      <p:cxnSp>
        <p:nvCxnSpPr>
          <p:cNvPr id="91" name="Straight Connector 32">
            <a:extLst>
              <a:ext uri="{FF2B5EF4-FFF2-40B4-BE49-F238E27FC236}">
                <a16:creationId xmlns:a16="http://schemas.microsoft.com/office/drawing/2014/main" id="{57A5154A-7F4A-49EC-80FA-5565AC15D39E}"/>
              </a:ext>
            </a:extLst>
          </p:cNvPr>
          <p:cNvCxnSpPr>
            <a:stCxn id="89" idx="2"/>
            <a:endCxn id="81" idx="0"/>
          </p:cNvCxnSpPr>
          <p:nvPr/>
        </p:nvCxnSpPr>
        <p:spPr>
          <a:xfrm>
            <a:off x="9112843" y="2667658"/>
            <a:ext cx="1" cy="1959757"/>
          </a:xfrm>
          <a:prstGeom prst="straightConnector1">
            <a:avLst/>
          </a:prstGeom>
          <a:ln w="12700"/>
        </p:spPr>
        <p:style>
          <a:lnRef idx="1">
            <a:schemeClr val="accent1"/>
          </a:lnRef>
          <a:fillRef idx="0">
            <a:schemeClr val="accent1"/>
          </a:fillRef>
          <a:effectRef idx="0">
            <a:schemeClr val="accent1"/>
          </a:effectRef>
          <a:fontRef idx="minor">
            <a:schemeClr val="tx1"/>
          </a:fontRef>
        </p:style>
      </p:cxnSp>
      <p:cxnSp>
        <p:nvCxnSpPr>
          <p:cNvPr id="96" name="Straight Connector 32">
            <a:extLst>
              <a:ext uri="{FF2B5EF4-FFF2-40B4-BE49-F238E27FC236}">
                <a16:creationId xmlns:a16="http://schemas.microsoft.com/office/drawing/2014/main" id="{C1D44BF8-F864-4D50-827A-E02E8F52D44D}"/>
              </a:ext>
            </a:extLst>
          </p:cNvPr>
          <p:cNvCxnSpPr/>
          <p:nvPr/>
        </p:nvCxnSpPr>
        <p:spPr>
          <a:xfrm flipH="1">
            <a:off x="9658852" y="2357120"/>
            <a:ext cx="0" cy="1908000"/>
          </a:xfrm>
          <a:prstGeom prst="straightConnector1">
            <a:avLst/>
          </a:prstGeom>
          <a:ln w="12700"/>
        </p:spPr>
        <p:style>
          <a:lnRef idx="1">
            <a:schemeClr val="accent1"/>
          </a:lnRef>
          <a:fillRef idx="0">
            <a:schemeClr val="accent1"/>
          </a:fillRef>
          <a:effectRef idx="0">
            <a:schemeClr val="accent1"/>
          </a:effectRef>
          <a:fontRef idx="minor">
            <a:schemeClr val="tx1"/>
          </a:fontRef>
        </p:style>
      </p:cxnSp>
      <p:sp>
        <p:nvSpPr>
          <p:cNvPr id="7" name="Background">
            <a:extLst>
              <a:ext uri="{FF2B5EF4-FFF2-40B4-BE49-F238E27FC236}">
                <a16:creationId xmlns:a16="http://schemas.microsoft.com/office/drawing/2014/main" id="{58F1F571-5CE4-44B3-810F-C0C54FD3FAD0}"/>
              </a:ext>
            </a:extLst>
          </p:cNvPr>
          <p:cNvSpPr/>
          <p:nvPr>
            <p:custDataLst>
              <p:tags r:id="rId2"/>
            </p:custDataLst>
          </p:nvPr>
        </p:nvSpPr>
        <p:spPr>
          <a:xfrm>
            <a:off x="561003" y="1708824"/>
            <a:ext cx="11062924" cy="987524"/>
          </a:xfrm>
          <a:prstGeom prst="rect">
            <a:avLst/>
          </a:prstGeom>
          <a:solidFill>
            <a:schemeClr val="bg1"/>
          </a:solidFill>
          <a:effectLst>
            <a:outerShdw blurRad="127000" algn="ctr" rotWithShape="0">
              <a:prstClr val="black">
                <a:alpha val="25000"/>
              </a:prstClr>
            </a:outerShdw>
          </a:effectLst>
        </p:spPr>
        <p:txBody>
          <a:bodyPr vert="horz" lIns="180000" tIns="180000" rIns="144000" bIns="180000" rtlCol="0" anchor="ctr">
            <a:noAutofit/>
          </a:bodyPr>
          <a:lstStyle/>
          <a:p>
            <a:pPr marL="540000" lvl="0" indent="-540000">
              <a:lnSpc>
                <a:spcPct val="120000"/>
              </a:lnSpc>
              <a:spcBef>
                <a:spcPts val="1200"/>
              </a:spcBef>
              <a:spcAft>
                <a:spcPts val="300"/>
              </a:spcAft>
              <a:buClr>
                <a:schemeClr val="tx2"/>
              </a:buClr>
              <a:buFont typeface="Wingdings" pitchFamily="2" charset="2"/>
              <a:buNone/>
            </a:pPr>
            <a:endParaRPr lang="en-GB" sz="2200">
              <a:solidFill>
                <a:schemeClr val="tx1"/>
              </a:solidFill>
              <a:latin typeface="Segoe UI Light" panose="020B0502040204020203" pitchFamily="34" charset="0"/>
              <a:cs typeface="Segoe UI Light" panose="020B0502040204020203" pitchFamily="34" charset="0"/>
            </a:endParaRPr>
          </a:p>
        </p:txBody>
      </p:sp>
      <p:pic>
        <p:nvPicPr>
          <p:cNvPr id="4" name="Picture 3">
            <a:extLst>
              <a:ext uri="{FF2B5EF4-FFF2-40B4-BE49-F238E27FC236}">
                <a16:creationId xmlns:a16="http://schemas.microsoft.com/office/drawing/2014/main" id="{47525012-B3F3-48E7-B4DE-CAC5CC6CEBB8}"/>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552000" y="1708824"/>
            <a:ext cx="11088001" cy="987524"/>
          </a:xfrm>
          <a:prstGeom prst="rect">
            <a:avLst/>
          </a:prstGeom>
          <a:effectLst/>
        </p:spPr>
      </p:pic>
      <p:sp>
        <p:nvSpPr>
          <p:cNvPr id="34" name="Rectangle 33">
            <a:extLst>
              <a:ext uri="{FF2B5EF4-FFF2-40B4-BE49-F238E27FC236}">
                <a16:creationId xmlns:a16="http://schemas.microsoft.com/office/drawing/2014/main" id="{8E44FA13-0503-4AC8-9ACC-C0646FDCBEBD}"/>
              </a:ext>
            </a:extLst>
          </p:cNvPr>
          <p:cNvSpPr/>
          <p:nvPr>
            <p:custDataLst>
              <p:tags r:id="rId3"/>
            </p:custDataLst>
          </p:nvPr>
        </p:nvSpPr>
        <p:spPr bwMode="auto">
          <a:xfrm>
            <a:off x="2145454" y="1947823"/>
            <a:ext cx="1891390" cy="719835"/>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549" b="1">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35" name="Rectangle 34">
            <a:extLst>
              <a:ext uri="{FF2B5EF4-FFF2-40B4-BE49-F238E27FC236}">
                <a16:creationId xmlns:a16="http://schemas.microsoft.com/office/drawing/2014/main" id="{0E49D897-D078-4EAB-AA38-C260E5D5701D}"/>
              </a:ext>
            </a:extLst>
          </p:cNvPr>
          <p:cNvSpPr/>
          <p:nvPr>
            <p:custDataLst>
              <p:tags r:id="rId4"/>
            </p:custDataLst>
          </p:nvPr>
        </p:nvSpPr>
        <p:spPr bwMode="auto">
          <a:xfrm>
            <a:off x="4041844" y="1947823"/>
            <a:ext cx="363771" cy="719835"/>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549" b="1">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71" name="Rectangle 70">
            <a:extLst>
              <a:ext uri="{FF2B5EF4-FFF2-40B4-BE49-F238E27FC236}">
                <a16:creationId xmlns:a16="http://schemas.microsoft.com/office/drawing/2014/main" id="{DEFC6739-4A4A-4787-9532-7B7821D59C30}"/>
              </a:ext>
            </a:extLst>
          </p:cNvPr>
          <p:cNvSpPr/>
          <p:nvPr>
            <p:custDataLst>
              <p:tags r:id="rId5"/>
            </p:custDataLst>
          </p:nvPr>
        </p:nvSpPr>
        <p:spPr bwMode="auto">
          <a:xfrm>
            <a:off x="5510219" y="1947823"/>
            <a:ext cx="3404584" cy="719835"/>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549" b="1">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89" name="Rectangle 88">
            <a:extLst>
              <a:ext uri="{FF2B5EF4-FFF2-40B4-BE49-F238E27FC236}">
                <a16:creationId xmlns:a16="http://schemas.microsoft.com/office/drawing/2014/main" id="{90129258-FE26-43B0-82C3-2AA693F3A018}"/>
              </a:ext>
            </a:extLst>
          </p:cNvPr>
          <p:cNvSpPr/>
          <p:nvPr>
            <p:custDataLst>
              <p:tags r:id="rId6"/>
            </p:custDataLst>
          </p:nvPr>
        </p:nvSpPr>
        <p:spPr bwMode="auto">
          <a:xfrm>
            <a:off x="8914803" y="1947823"/>
            <a:ext cx="396080" cy="719835"/>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549" b="1">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92" name="Rectangle 91">
            <a:extLst>
              <a:ext uri="{FF2B5EF4-FFF2-40B4-BE49-F238E27FC236}">
                <a16:creationId xmlns:a16="http://schemas.microsoft.com/office/drawing/2014/main" id="{175D904A-925B-452C-99D3-DD4379E5876C}"/>
              </a:ext>
            </a:extLst>
          </p:cNvPr>
          <p:cNvSpPr/>
          <p:nvPr>
            <p:custDataLst>
              <p:tags r:id="rId7"/>
            </p:custDataLst>
          </p:nvPr>
        </p:nvSpPr>
        <p:spPr bwMode="auto">
          <a:xfrm>
            <a:off x="9309062" y="1947823"/>
            <a:ext cx="699581" cy="719835"/>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549" b="1">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98" name="Rectangle 97">
            <a:extLst>
              <a:ext uri="{FF2B5EF4-FFF2-40B4-BE49-F238E27FC236}">
                <a16:creationId xmlns:a16="http://schemas.microsoft.com/office/drawing/2014/main" id="{25DE91AB-C726-470E-B2AF-F937CB3ABA95}"/>
              </a:ext>
            </a:extLst>
          </p:cNvPr>
          <p:cNvSpPr/>
          <p:nvPr>
            <p:custDataLst>
              <p:tags r:id="rId8"/>
            </p:custDataLst>
          </p:nvPr>
        </p:nvSpPr>
        <p:spPr bwMode="auto">
          <a:xfrm>
            <a:off x="10004998" y="1947823"/>
            <a:ext cx="1013412" cy="719835"/>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549" b="1">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cxnSp>
        <p:nvCxnSpPr>
          <p:cNvPr id="102" name="Straight Connector 32">
            <a:extLst>
              <a:ext uri="{FF2B5EF4-FFF2-40B4-BE49-F238E27FC236}">
                <a16:creationId xmlns:a16="http://schemas.microsoft.com/office/drawing/2014/main" id="{819BA2C7-0E9E-4365-950F-F3755AC9E309}"/>
              </a:ext>
            </a:extLst>
          </p:cNvPr>
          <p:cNvCxnSpPr>
            <a:stCxn id="98" idx="2"/>
          </p:cNvCxnSpPr>
          <p:nvPr/>
        </p:nvCxnSpPr>
        <p:spPr>
          <a:xfrm flipH="1">
            <a:off x="10511704" y="2667658"/>
            <a:ext cx="0" cy="828000"/>
          </a:xfrm>
          <a:prstGeom prst="straightConnector1">
            <a:avLst/>
          </a:prstGeom>
          <a:ln w="12700"/>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89A50337-AC56-4541-B1FF-239D54306308}"/>
              </a:ext>
            </a:extLst>
          </p:cNvPr>
          <p:cNvGrpSpPr/>
          <p:nvPr/>
        </p:nvGrpSpPr>
        <p:grpSpPr>
          <a:xfrm>
            <a:off x="2191149" y="4603782"/>
            <a:ext cx="1800000" cy="572309"/>
            <a:chOff x="2082704" y="4757983"/>
            <a:chExt cx="1800000" cy="572309"/>
          </a:xfrm>
        </p:grpSpPr>
        <p:sp>
          <p:nvSpPr>
            <p:cNvPr id="18" name="Rectangle 17">
              <a:extLst>
                <a:ext uri="{FF2B5EF4-FFF2-40B4-BE49-F238E27FC236}">
                  <a16:creationId xmlns:a16="http://schemas.microsoft.com/office/drawing/2014/main" id="{DE8022B4-73F2-4C8D-9E10-0C2C1040083B}"/>
                </a:ext>
              </a:extLst>
            </p:cNvPr>
            <p:cNvSpPr/>
            <p:nvPr/>
          </p:nvSpPr>
          <p:spPr>
            <a:xfrm>
              <a:off x="2082704" y="4757983"/>
              <a:ext cx="1800000" cy="572309"/>
            </a:xfrm>
            <a:prstGeom prst="rect">
              <a:avLst/>
            </a:prstGeom>
            <a:solidFill>
              <a:schemeClr val="lt1"/>
            </a:solidFill>
            <a:ln w="9525" cap="flat" cmpd="sng" algn="ctr">
              <a:noFill/>
              <a:prstDash val="solid"/>
            </a:ln>
            <a:effectLst>
              <a:outerShdw blurRad="63500" sx="102000" sy="102000" algn="ctr" rotWithShape="0">
                <a:prstClr val="black">
                  <a:alpha val="40000"/>
                </a:prstClr>
              </a:outerShdw>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1400">
                  <a:solidFill>
                    <a:schemeClr val="accent1"/>
                  </a:solidFill>
                  <a:latin typeface="Segoe UI Semibold" panose="020B0502040204020203" pitchFamily="34" charset="0"/>
                  <a:hlinkClick r:id="rId22">
                    <a:extLst>
                      <a:ext uri="{A12FA001-AC4F-418D-AE19-62706E023703}">
                        <ahyp:hlinkClr xmlns:ahyp="http://schemas.microsoft.com/office/drawing/2018/hyperlinkcolor" val="tx"/>
                      </a:ext>
                    </a:extLst>
                  </a:hlinkClick>
                </a:rPr>
                <a:t>Text</a:t>
              </a:r>
              <a:br>
                <a:rPr lang="en-GB" sz="1400">
                  <a:solidFill>
                    <a:schemeClr val="accent1"/>
                  </a:solidFill>
                  <a:latin typeface="Segoe UI Semibold" panose="020B0502040204020203" pitchFamily="34" charset="0"/>
                  <a:hlinkClick r:id="rId22">
                    <a:extLst>
                      <a:ext uri="{A12FA001-AC4F-418D-AE19-62706E023703}">
                        <ahyp:hlinkClr xmlns:ahyp="http://schemas.microsoft.com/office/drawing/2018/hyperlinkcolor" val="tx"/>
                      </a:ext>
                    </a:extLst>
                  </a:hlinkClick>
                </a:rPr>
              </a:br>
              <a:r>
                <a:rPr lang="en-GB" sz="1000">
                  <a:solidFill>
                    <a:schemeClr val="accent1"/>
                  </a:solidFill>
                  <a:latin typeface="Segoe UI Light" panose="020B0502040204020203" pitchFamily="34" charset="0"/>
                </a:rPr>
                <a:t>(4m 23s)</a:t>
              </a:r>
            </a:p>
          </p:txBody>
        </p:sp>
        <p:sp>
          <p:nvSpPr>
            <p:cNvPr id="54" name="Isosceles Triangle 53">
              <a:extLst>
                <a:ext uri="{FF2B5EF4-FFF2-40B4-BE49-F238E27FC236}">
                  <a16:creationId xmlns:a16="http://schemas.microsoft.com/office/drawing/2014/main" id="{50D53881-DED0-402C-BAD2-7A93E7A957A2}"/>
                </a:ext>
              </a:extLst>
            </p:cNvPr>
            <p:cNvSpPr/>
            <p:nvPr/>
          </p:nvSpPr>
          <p:spPr>
            <a:xfrm rot="16200000" flipV="1">
              <a:off x="2222463" y="4889138"/>
              <a:ext cx="375206" cy="328598"/>
            </a:xfrm>
            <a:prstGeom prst="triangl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400" err="1">
                <a:solidFill>
                  <a:schemeClr val="accent1"/>
                </a:solidFill>
                <a:latin typeface="Segoe UI Semibold" panose="020B0502040204020203" pitchFamily="34" charset="0"/>
              </a:endParaRPr>
            </a:p>
          </p:txBody>
        </p:sp>
      </p:grpSp>
      <p:grpSp>
        <p:nvGrpSpPr>
          <p:cNvPr id="16" name="Group 15">
            <a:extLst>
              <a:ext uri="{FF2B5EF4-FFF2-40B4-BE49-F238E27FC236}">
                <a16:creationId xmlns:a16="http://schemas.microsoft.com/office/drawing/2014/main" id="{6E3A574B-B999-3CBF-F9D9-C335DFAE7B0C}"/>
              </a:ext>
            </a:extLst>
          </p:cNvPr>
          <p:cNvGrpSpPr/>
          <p:nvPr/>
        </p:nvGrpSpPr>
        <p:grpSpPr>
          <a:xfrm>
            <a:off x="9386050" y="3806329"/>
            <a:ext cx="1800000" cy="572308"/>
            <a:chOff x="9386050" y="4511650"/>
            <a:chExt cx="1800000" cy="572308"/>
          </a:xfrm>
        </p:grpSpPr>
        <p:sp>
          <p:nvSpPr>
            <p:cNvPr id="94" name="Rectangle 93">
              <a:extLst>
                <a:ext uri="{FF2B5EF4-FFF2-40B4-BE49-F238E27FC236}">
                  <a16:creationId xmlns:a16="http://schemas.microsoft.com/office/drawing/2014/main" id="{44BFBF10-12A2-40E1-B597-1A715A0B7D66}"/>
                </a:ext>
              </a:extLst>
            </p:cNvPr>
            <p:cNvSpPr/>
            <p:nvPr>
              <p:custDataLst>
                <p:tags r:id="rId17"/>
              </p:custDataLst>
            </p:nvPr>
          </p:nvSpPr>
          <p:spPr>
            <a:xfrm>
              <a:off x="9386050" y="4511650"/>
              <a:ext cx="1800000" cy="572308"/>
            </a:xfrm>
            <a:prstGeom prst="rect">
              <a:avLst/>
            </a:prstGeom>
            <a:solidFill>
              <a:schemeClr val="lt1"/>
            </a:solidFill>
            <a:ln w="9525" cap="flat" cmpd="sng" algn="ctr">
              <a:noFill/>
              <a:prstDash val="solid"/>
            </a:ln>
            <a:effectLst>
              <a:outerShdw blurRad="63500" sx="102000" sy="102000" algn="ctr" rotWithShape="0">
                <a:prstClr val="black">
                  <a:alpha val="40000"/>
                </a:prstClr>
              </a:outerShdw>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1400">
                  <a:solidFill>
                    <a:schemeClr val="accent1"/>
                  </a:solidFill>
                  <a:latin typeface="Segoe UI Semibold" panose="020B0502040204020203" pitchFamily="34" charset="0"/>
                  <a:hlinkClick r:id="rId23">
                    <a:extLst>
                      <a:ext uri="{A12FA001-AC4F-418D-AE19-62706E023703}">
                        <ahyp:hlinkClr xmlns:ahyp="http://schemas.microsoft.com/office/drawing/2018/hyperlinkcolor" val="tx"/>
                      </a:ext>
                    </a:extLst>
                  </a:hlinkClick>
                </a:rPr>
                <a:t>Finalize</a:t>
              </a:r>
              <a:endParaRPr lang="en-GB" sz="1400">
                <a:solidFill>
                  <a:schemeClr val="accent1"/>
                </a:solidFill>
                <a:latin typeface="Segoe UI Semibold" panose="020B0502040204020203" pitchFamily="34" charset="0"/>
              </a:endParaRPr>
            </a:p>
            <a:p>
              <a:pPr algn="ctr" defTabSz="486000"/>
              <a:r>
                <a:rPr lang="en-GB" sz="1000">
                  <a:solidFill>
                    <a:schemeClr val="accent1"/>
                  </a:solidFill>
                  <a:latin typeface="Segoe UI Light" panose="020B0502040204020203" pitchFamily="34" charset="0"/>
                </a:rPr>
                <a:t>(4m 12s)</a:t>
              </a:r>
            </a:p>
          </p:txBody>
        </p:sp>
        <p:sp>
          <p:nvSpPr>
            <p:cNvPr id="55" name="Isosceles Triangle 54">
              <a:extLst>
                <a:ext uri="{FF2B5EF4-FFF2-40B4-BE49-F238E27FC236}">
                  <a16:creationId xmlns:a16="http://schemas.microsoft.com/office/drawing/2014/main" id="{5E4B919F-AB33-47B9-8393-18088030DFA9}"/>
                </a:ext>
              </a:extLst>
            </p:cNvPr>
            <p:cNvSpPr/>
            <p:nvPr>
              <p:custDataLst>
                <p:tags r:id="rId18"/>
              </p:custDataLst>
            </p:nvPr>
          </p:nvSpPr>
          <p:spPr>
            <a:xfrm rot="16200000" flipV="1">
              <a:off x="9492198" y="4642805"/>
              <a:ext cx="375206" cy="328598"/>
            </a:xfrm>
            <a:prstGeom prst="triangl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400" err="1">
                <a:solidFill>
                  <a:schemeClr val="accent1"/>
                </a:solidFill>
                <a:latin typeface="Segoe UI Semibold" panose="020B0502040204020203" pitchFamily="34" charset="0"/>
              </a:endParaRPr>
            </a:p>
          </p:txBody>
        </p:sp>
      </p:grpSp>
      <p:grpSp>
        <p:nvGrpSpPr>
          <p:cNvPr id="15" name="Group 14">
            <a:extLst>
              <a:ext uri="{FF2B5EF4-FFF2-40B4-BE49-F238E27FC236}">
                <a16:creationId xmlns:a16="http://schemas.microsoft.com/office/drawing/2014/main" id="{F8315EED-D1E2-3A26-5B75-9AE7D70EC79A}"/>
              </a:ext>
            </a:extLst>
          </p:cNvPr>
          <p:cNvGrpSpPr/>
          <p:nvPr/>
        </p:nvGrpSpPr>
        <p:grpSpPr>
          <a:xfrm>
            <a:off x="6312512" y="5448500"/>
            <a:ext cx="1800000" cy="572309"/>
            <a:chOff x="7086578" y="3342440"/>
            <a:chExt cx="1800000" cy="572309"/>
          </a:xfrm>
        </p:grpSpPr>
        <p:sp>
          <p:nvSpPr>
            <p:cNvPr id="68" name="Rectangle 67">
              <a:extLst>
                <a:ext uri="{FF2B5EF4-FFF2-40B4-BE49-F238E27FC236}">
                  <a16:creationId xmlns:a16="http://schemas.microsoft.com/office/drawing/2014/main" id="{0296C3CE-4767-4BCC-89F9-87A5708A4FDC}"/>
                </a:ext>
              </a:extLst>
            </p:cNvPr>
            <p:cNvSpPr/>
            <p:nvPr>
              <p:custDataLst>
                <p:tags r:id="rId15"/>
              </p:custDataLst>
            </p:nvPr>
          </p:nvSpPr>
          <p:spPr>
            <a:xfrm>
              <a:off x="7086578" y="3342440"/>
              <a:ext cx="1800000" cy="572309"/>
            </a:xfrm>
            <a:prstGeom prst="rect">
              <a:avLst/>
            </a:prstGeom>
            <a:solidFill>
              <a:schemeClr val="lt1"/>
            </a:solidFill>
            <a:ln w="9525" cap="flat" cmpd="sng" algn="ctr">
              <a:noFill/>
              <a:prstDash val="solid"/>
            </a:ln>
            <a:effectLst>
              <a:outerShdw blurRad="63500" sx="102000" sy="102000" algn="ctr" rotWithShape="0">
                <a:prstClr val="black">
                  <a:alpha val="40000"/>
                </a:prstClr>
              </a:outerShdw>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1400">
                  <a:solidFill>
                    <a:schemeClr val="accent1"/>
                  </a:solidFill>
                  <a:latin typeface="Segoe UI Semibold" panose="020B0502040204020203" pitchFamily="34" charset="0"/>
                  <a:hlinkClick r:id="rId24">
                    <a:extLst>
                      <a:ext uri="{A12FA001-AC4F-418D-AE19-62706E023703}">
                        <ahyp:hlinkClr xmlns:ahyp="http://schemas.microsoft.com/office/drawing/2018/hyperlinkcolor" val="tx"/>
                      </a:ext>
                    </a:extLst>
                  </a:hlinkClick>
                </a:rPr>
                <a:t>Insert</a:t>
              </a:r>
              <a:endParaRPr lang="en-GB" sz="1400">
                <a:solidFill>
                  <a:schemeClr val="accent1"/>
                </a:solidFill>
                <a:latin typeface="Segoe UI Semibold" panose="020B0502040204020203" pitchFamily="34" charset="0"/>
              </a:endParaRPr>
            </a:p>
            <a:p>
              <a:pPr algn="ctr" defTabSz="486000"/>
              <a:r>
                <a:rPr lang="en-GB" sz="1000">
                  <a:solidFill>
                    <a:schemeClr val="accent1"/>
                  </a:solidFill>
                  <a:latin typeface="Segoe UI Light" panose="020B0502040204020203" pitchFamily="34" charset="0"/>
                </a:rPr>
                <a:t>(6m 44s)</a:t>
              </a:r>
            </a:p>
          </p:txBody>
        </p:sp>
        <p:sp>
          <p:nvSpPr>
            <p:cNvPr id="56" name="Isosceles Triangle 55">
              <a:extLst>
                <a:ext uri="{FF2B5EF4-FFF2-40B4-BE49-F238E27FC236}">
                  <a16:creationId xmlns:a16="http://schemas.microsoft.com/office/drawing/2014/main" id="{10344579-98DB-45FA-AA54-2C3D324C3552}"/>
                </a:ext>
              </a:extLst>
            </p:cNvPr>
            <p:cNvSpPr/>
            <p:nvPr>
              <p:custDataLst>
                <p:tags r:id="rId16"/>
              </p:custDataLst>
            </p:nvPr>
          </p:nvSpPr>
          <p:spPr>
            <a:xfrm rot="16200000" flipV="1">
              <a:off x="7225666" y="3464296"/>
              <a:ext cx="375206" cy="328598"/>
            </a:xfrm>
            <a:prstGeom prst="triangl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400" err="1">
                <a:solidFill>
                  <a:schemeClr val="accent1"/>
                </a:solidFill>
                <a:latin typeface="Segoe UI Semibold" panose="020B0502040204020203" pitchFamily="34" charset="0"/>
              </a:endParaRPr>
            </a:p>
          </p:txBody>
        </p:sp>
      </p:grpSp>
      <p:grpSp>
        <p:nvGrpSpPr>
          <p:cNvPr id="17" name="Group 16">
            <a:extLst>
              <a:ext uri="{FF2B5EF4-FFF2-40B4-BE49-F238E27FC236}">
                <a16:creationId xmlns:a16="http://schemas.microsoft.com/office/drawing/2014/main" id="{A919E611-48D5-5F63-22A9-FCC01172A5B9}"/>
              </a:ext>
            </a:extLst>
          </p:cNvPr>
          <p:cNvGrpSpPr/>
          <p:nvPr/>
        </p:nvGrpSpPr>
        <p:grpSpPr>
          <a:xfrm>
            <a:off x="9840001" y="2985243"/>
            <a:ext cx="1800000" cy="572308"/>
            <a:chOff x="9888367" y="3342440"/>
            <a:chExt cx="1800000" cy="572308"/>
          </a:xfrm>
        </p:grpSpPr>
        <p:sp>
          <p:nvSpPr>
            <p:cNvPr id="100" name="Rectangle 99">
              <a:extLst>
                <a:ext uri="{FF2B5EF4-FFF2-40B4-BE49-F238E27FC236}">
                  <a16:creationId xmlns:a16="http://schemas.microsoft.com/office/drawing/2014/main" id="{5B683D00-8AE7-4CDA-A88B-BD666F0E41DD}"/>
                </a:ext>
              </a:extLst>
            </p:cNvPr>
            <p:cNvSpPr/>
            <p:nvPr>
              <p:custDataLst>
                <p:tags r:id="rId13"/>
              </p:custDataLst>
            </p:nvPr>
          </p:nvSpPr>
          <p:spPr>
            <a:xfrm>
              <a:off x="9888367" y="3342440"/>
              <a:ext cx="1800000" cy="572308"/>
            </a:xfrm>
            <a:prstGeom prst="rect">
              <a:avLst/>
            </a:prstGeom>
            <a:solidFill>
              <a:schemeClr val="lt1"/>
            </a:solidFill>
            <a:ln w="9525" cap="flat" cmpd="sng" algn="ctr">
              <a:noFill/>
              <a:prstDash val="solid"/>
            </a:ln>
            <a:effectLst>
              <a:outerShdw blurRad="63500" sx="102000" sy="102000" algn="ctr" rotWithShape="0">
                <a:prstClr val="black">
                  <a:alpha val="40000"/>
                </a:prstClr>
              </a:outerShdw>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1400">
                  <a:solidFill>
                    <a:schemeClr val="accent1"/>
                  </a:solidFill>
                  <a:latin typeface="Segoe UI Semibold" panose="020B0502040204020203" pitchFamily="34" charset="0"/>
                  <a:hlinkClick r:id="rId25">
                    <a:extLst>
                      <a:ext uri="{A12FA001-AC4F-418D-AE19-62706E023703}">
                        <ahyp:hlinkClr xmlns:ahyp="http://schemas.microsoft.com/office/drawing/2018/hyperlinkcolor" val="tx"/>
                      </a:ext>
                    </a:extLst>
                  </a:hlinkClick>
                </a:rPr>
                <a:t>Support</a:t>
              </a:r>
              <a:endParaRPr lang="en-GB" sz="1400">
                <a:solidFill>
                  <a:schemeClr val="accent1"/>
                </a:solidFill>
                <a:latin typeface="Segoe UI Semibold" panose="020B0502040204020203" pitchFamily="34" charset="0"/>
              </a:endParaRPr>
            </a:p>
            <a:p>
              <a:pPr algn="ctr" defTabSz="486000"/>
              <a:r>
                <a:rPr lang="en-GB" sz="1000">
                  <a:solidFill>
                    <a:schemeClr val="accent1"/>
                  </a:solidFill>
                  <a:latin typeface="Segoe UI Light" panose="020B0502040204020203" pitchFamily="34" charset="0"/>
                </a:rPr>
                <a:t>(2m 38s)</a:t>
              </a:r>
            </a:p>
          </p:txBody>
        </p:sp>
        <p:sp>
          <p:nvSpPr>
            <p:cNvPr id="57" name="Isosceles Triangle 56">
              <a:extLst>
                <a:ext uri="{FF2B5EF4-FFF2-40B4-BE49-F238E27FC236}">
                  <a16:creationId xmlns:a16="http://schemas.microsoft.com/office/drawing/2014/main" id="{7EA28E0A-9D76-4926-A7DC-B746CB0E9F9F}"/>
                </a:ext>
              </a:extLst>
            </p:cNvPr>
            <p:cNvSpPr/>
            <p:nvPr>
              <p:custDataLst>
                <p:tags r:id="rId14"/>
              </p:custDataLst>
            </p:nvPr>
          </p:nvSpPr>
          <p:spPr>
            <a:xfrm rot="16200000" flipV="1">
              <a:off x="10014585" y="3464295"/>
              <a:ext cx="375206" cy="328598"/>
            </a:xfrm>
            <a:prstGeom prst="triangl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400" err="1">
                <a:solidFill>
                  <a:schemeClr val="accent1"/>
                </a:solidFill>
                <a:latin typeface="Segoe UI Semibold" panose="020B0502040204020203" pitchFamily="34" charset="0"/>
              </a:endParaRPr>
            </a:p>
          </p:txBody>
        </p:sp>
      </p:grpSp>
      <p:grpSp>
        <p:nvGrpSpPr>
          <p:cNvPr id="12" name="Group 11">
            <a:extLst>
              <a:ext uri="{FF2B5EF4-FFF2-40B4-BE49-F238E27FC236}">
                <a16:creationId xmlns:a16="http://schemas.microsoft.com/office/drawing/2014/main" id="{121E6FA3-CFB6-4397-8BDE-97CE1D766A3D}"/>
              </a:ext>
            </a:extLst>
          </p:cNvPr>
          <p:cNvGrpSpPr/>
          <p:nvPr/>
        </p:nvGrpSpPr>
        <p:grpSpPr>
          <a:xfrm>
            <a:off x="3323730" y="5448500"/>
            <a:ext cx="1800000" cy="572309"/>
            <a:chOff x="3233669" y="5680859"/>
            <a:chExt cx="1800000" cy="572309"/>
          </a:xfrm>
        </p:grpSpPr>
        <p:sp>
          <p:nvSpPr>
            <p:cNvPr id="37" name="Rectangle 36">
              <a:extLst>
                <a:ext uri="{FF2B5EF4-FFF2-40B4-BE49-F238E27FC236}">
                  <a16:creationId xmlns:a16="http://schemas.microsoft.com/office/drawing/2014/main" id="{99A2A551-BC6C-471D-A0C2-8AFE14BBAADE}"/>
                </a:ext>
              </a:extLst>
            </p:cNvPr>
            <p:cNvSpPr/>
            <p:nvPr/>
          </p:nvSpPr>
          <p:spPr>
            <a:xfrm>
              <a:off x="3233669" y="5680859"/>
              <a:ext cx="1800000" cy="572309"/>
            </a:xfrm>
            <a:prstGeom prst="rect">
              <a:avLst/>
            </a:prstGeom>
            <a:solidFill>
              <a:schemeClr val="lt1"/>
            </a:solidFill>
            <a:ln w="9525" cap="flat" cmpd="sng" algn="ctr">
              <a:noFill/>
              <a:prstDash val="solid"/>
            </a:ln>
            <a:effectLst>
              <a:outerShdw blurRad="63500" sx="102000" sy="102000" algn="ctr" rotWithShape="0">
                <a:prstClr val="black">
                  <a:alpha val="40000"/>
                </a:prstClr>
              </a:outerShdw>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1400" err="1">
                  <a:solidFill>
                    <a:schemeClr val="accent1"/>
                  </a:solidFill>
                  <a:latin typeface="Segoe UI Semibold" panose="020B0502040204020203" pitchFamily="34" charset="0"/>
                  <a:hlinkClick r:id="rId26">
                    <a:extLst>
                      <a:ext uri="{A12FA001-AC4F-418D-AE19-62706E023703}">
                        <ahyp:hlinkClr xmlns:ahyp="http://schemas.microsoft.com/office/drawing/2018/hyperlinkcolor" val="tx"/>
                      </a:ext>
                    </a:extLst>
                  </a:hlinkClick>
                </a:rPr>
                <a:t>Color</a:t>
              </a:r>
              <a:endParaRPr lang="en-GB" sz="1400">
                <a:solidFill>
                  <a:schemeClr val="accent1"/>
                </a:solidFill>
                <a:latin typeface="Segoe UI Semibold" panose="020B0502040204020203" pitchFamily="34" charset="0"/>
              </a:endParaRPr>
            </a:p>
            <a:p>
              <a:pPr algn="ctr" defTabSz="486000"/>
              <a:r>
                <a:rPr lang="en-GB" sz="1000">
                  <a:solidFill>
                    <a:schemeClr val="accent1"/>
                  </a:solidFill>
                  <a:latin typeface="Segoe UI Light" panose="020B0502040204020203" pitchFamily="34" charset="0"/>
                </a:rPr>
                <a:t>(1m 5s)</a:t>
              </a:r>
            </a:p>
          </p:txBody>
        </p:sp>
        <p:sp>
          <p:nvSpPr>
            <p:cNvPr id="58" name="Isosceles Triangle 57">
              <a:extLst>
                <a:ext uri="{FF2B5EF4-FFF2-40B4-BE49-F238E27FC236}">
                  <a16:creationId xmlns:a16="http://schemas.microsoft.com/office/drawing/2014/main" id="{1F3F1F76-206C-476E-9490-F55CD2630255}"/>
                </a:ext>
              </a:extLst>
            </p:cNvPr>
            <p:cNvSpPr/>
            <p:nvPr/>
          </p:nvSpPr>
          <p:spPr>
            <a:xfrm rot="16200000" flipV="1">
              <a:off x="3383606" y="5802715"/>
              <a:ext cx="375206" cy="328598"/>
            </a:xfrm>
            <a:prstGeom prst="triangl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400" err="1">
                <a:solidFill>
                  <a:schemeClr val="accent1"/>
                </a:solidFill>
                <a:latin typeface="Segoe UI Semibold" panose="020B0502040204020203" pitchFamily="34" charset="0"/>
              </a:endParaRPr>
            </a:p>
          </p:txBody>
        </p:sp>
      </p:grpSp>
      <p:grpSp>
        <p:nvGrpSpPr>
          <p:cNvPr id="9" name="Group 8">
            <a:extLst>
              <a:ext uri="{FF2B5EF4-FFF2-40B4-BE49-F238E27FC236}">
                <a16:creationId xmlns:a16="http://schemas.microsoft.com/office/drawing/2014/main" id="{6B051125-537F-50E8-AD21-0C9BB1137A3E}"/>
              </a:ext>
            </a:extLst>
          </p:cNvPr>
          <p:cNvGrpSpPr/>
          <p:nvPr/>
        </p:nvGrpSpPr>
        <p:grpSpPr>
          <a:xfrm>
            <a:off x="8212844" y="4627415"/>
            <a:ext cx="1800000" cy="572308"/>
            <a:chOff x="8258220" y="5680860"/>
            <a:chExt cx="1800000" cy="572308"/>
          </a:xfrm>
        </p:grpSpPr>
        <p:sp>
          <p:nvSpPr>
            <p:cNvPr id="81" name="Rectangle 80">
              <a:extLst>
                <a:ext uri="{FF2B5EF4-FFF2-40B4-BE49-F238E27FC236}">
                  <a16:creationId xmlns:a16="http://schemas.microsoft.com/office/drawing/2014/main" id="{2C268E5C-7A89-42AA-8C8C-998D22C996BA}"/>
                </a:ext>
              </a:extLst>
            </p:cNvPr>
            <p:cNvSpPr/>
            <p:nvPr>
              <p:custDataLst>
                <p:tags r:id="rId11"/>
              </p:custDataLst>
            </p:nvPr>
          </p:nvSpPr>
          <p:spPr>
            <a:xfrm>
              <a:off x="8258220" y="5680860"/>
              <a:ext cx="1800000" cy="572308"/>
            </a:xfrm>
            <a:prstGeom prst="rect">
              <a:avLst/>
            </a:prstGeom>
            <a:solidFill>
              <a:schemeClr val="lt1"/>
            </a:solidFill>
            <a:ln w="9525" cap="flat" cmpd="sng" algn="ctr">
              <a:noFill/>
              <a:prstDash val="solid"/>
            </a:ln>
            <a:effectLst>
              <a:outerShdw blurRad="63500" sx="102000" sy="102000" algn="ctr" rotWithShape="0">
                <a:prstClr val="black">
                  <a:alpha val="40000"/>
                </a:prstClr>
              </a:outerShdw>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457200" tIns="97200" rIns="61200" bIns="97200" rtlCol="0" anchor="ctr"/>
            <a:lstStyle/>
            <a:p>
              <a:pPr algn="ctr" defTabSz="486000"/>
              <a:r>
                <a:rPr lang="en-GB" sz="1400">
                  <a:solidFill>
                    <a:schemeClr val="accent1"/>
                  </a:solidFill>
                  <a:latin typeface="Segoe UI Semibold" panose="020B0502040204020203" pitchFamily="34" charset="0"/>
                  <a:hlinkClick r:id="rId27">
                    <a:extLst>
                      <a:ext uri="{A12FA001-AC4F-418D-AE19-62706E023703}">
                        <ahyp:hlinkClr xmlns:ahyp="http://schemas.microsoft.com/office/drawing/2018/hyperlinkcolor" val="tx"/>
                      </a:ext>
                    </a:extLst>
                  </a:hlinkClick>
                </a:rPr>
                <a:t>Layout tools</a:t>
              </a:r>
              <a:r>
                <a:rPr lang="en-GB" sz="1400">
                  <a:solidFill>
                    <a:schemeClr val="accent1"/>
                  </a:solidFill>
                  <a:latin typeface="Segoe UI Semibold" panose="020B0502040204020203" pitchFamily="34" charset="0"/>
                </a:rPr>
                <a:t> </a:t>
              </a:r>
              <a:br>
                <a:rPr lang="en-GB" sz="1400">
                  <a:solidFill>
                    <a:schemeClr val="accent1"/>
                  </a:solidFill>
                  <a:latin typeface="Segoe UI Semibold" panose="020B0502040204020203" pitchFamily="34" charset="0"/>
                  <a:hlinkClick r:id="rId27">
                    <a:extLst>
                      <a:ext uri="{A12FA001-AC4F-418D-AE19-62706E023703}">
                        <ahyp:hlinkClr xmlns:ahyp="http://schemas.microsoft.com/office/drawing/2018/hyperlinkcolor" val="tx"/>
                      </a:ext>
                    </a:extLst>
                  </a:hlinkClick>
                </a:rPr>
              </a:br>
              <a:r>
                <a:rPr lang="en-GB" sz="1000">
                  <a:solidFill>
                    <a:schemeClr val="accent1"/>
                  </a:solidFill>
                  <a:latin typeface="Segoe UI Light" panose="020B0502040204020203" pitchFamily="34" charset="0"/>
                </a:rPr>
                <a:t>(11m 48s)</a:t>
              </a:r>
            </a:p>
          </p:txBody>
        </p:sp>
        <p:sp>
          <p:nvSpPr>
            <p:cNvPr id="59" name="Isosceles Triangle 58">
              <a:extLst>
                <a:ext uri="{FF2B5EF4-FFF2-40B4-BE49-F238E27FC236}">
                  <a16:creationId xmlns:a16="http://schemas.microsoft.com/office/drawing/2014/main" id="{A475FBA7-2241-482B-BBDC-87881FC77B7B}"/>
                </a:ext>
              </a:extLst>
            </p:cNvPr>
            <p:cNvSpPr/>
            <p:nvPr>
              <p:custDataLst>
                <p:tags r:id="rId12"/>
              </p:custDataLst>
            </p:nvPr>
          </p:nvSpPr>
          <p:spPr>
            <a:xfrm rot="16200000" flipV="1">
              <a:off x="8376520" y="5802715"/>
              <a:ext cx="375206" cy="328598"/>
            </a:xfrm>
            <a:prstGeom prst="triangl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400" err="1">
                <a:solidFill>
                  <a:schemeClr val="accent1"/>
                </a:solidFill>
                <a:latin typeface="Segoe UI Semibold" panose="020B0502040204020203" pitchFamily="34" charset="0"/>
              </a:endParaRPr>
            </a:p>
          </p:txBody>
        </p:sp>
      </p:grpSp>
      <p:sp>
        <p:nvSpPr>
          <p:cNvPr id="21" name="_Footnotes - full width">
            <a:extLst>
              <a:ext uri="{FF2B5EF4-FFF2-40B4-BE49-F238E27FC236}">
                <a16:creationId xmlns:a16="http://schemas.microsoft.com/office/drawing/2014/main" id="{442AD5A8-34B0-D900-BC45-7078BD7CE13C}"/>
              </a:ext>
            </a:extLst>
          </p:cNvPr>
          <p:cNvSpPr txBox="1"/>
          <p:nvPr>
            <p:custDataLst>
              <p:tags r:id="rId9"/>
            </p:custDataLst>
          </p:nvPr>
        </p:nvSpPr>
        <p:spPr>
          <a:xfrm>
            <a:off x="994577" y="6524469"/>
            <a:ext cx="10188000" cy="138499"/>
          </a:xfrm>
          <a:prstGeom prst="rect">
            <a:avLst/>
          </a:prstGeom>
          <a:noFill/>
        </p:spPr>
        <p:txBody>
          <a:bodyPr vert="horz" lIns="0" tIns="0" rIns="0" bIns="0" rtlCol="0" anchor="b">
            <a:spAutoFit/>
          </a:bodyPr>
          <a:lstStyle>
            <a:lvl1pPr marL="0" indent="0" algn="l" defTabSz="914400" rtl="0" eaLnBrk="1" latinLnBrk="0" hangingPunct="1">
              <a:lnSpc>
                <a:spcPct val="110000"/>
              </a:lnSpc>
              <a:spcBef>
                <a:spcPts val="600"/>
              </a:spcBef>
              <a:spcAft>
                <a:spcPts val="300"/>
              </a:spcAft>
              <a:buFontTx/>
              <a:buNone/>
              <a:defRPr sz="1200" kern="1200">
                <a:solidFill>
                  <a:schemeClr val="tx1"/>
                </a:solidFill>
                <a:latin typeface="+mn-lt"/>
                <a:ea typeface="+mn-ea"/>
                <a:cs typeface="+mn-cs"/>
              </a:defRPr>
            </a:lvl1pPr>
            <a:lvl2pPr marL="144000" indent="-144000" algn="l" defTabSz="914400" rtl="0" eaLnBrk="1" latinLnBrk="0" hangingPunct="1">
              <a:lnSpc>
                <a:spcPct val="110000"/>
              </a:lnSpc>
              <a:spcBef>
                <a:spcPts val="600"/>
              </a:spcBef>
              <a:spcAft>
                <a:spcPts val="300"/>
              </a:spcAft>
              <a:buFont typeface="Arial" panose="020B0604020202020204" pitchFamily="34" charset="0"/>
              <a:buChar char="•"/>
              <a:defRPr sz="1200" kern="1200">
                <a:solidFill>
                  <a:schemeClr val="tx1"/>
                </a:solidFill>
                <a:latin typeface="+mn-lt"/>
                <a:ea typeface="+mn-ea"/>
                <a:cs typeface="+mn-cs"/>
              </a:defRPr>
            </a:lvl2pPr>
            <a:lvl3pPr marL="288000" indent="-144000" algn="l" defTabSz="914400" rtl="0" eaLnBrk="1" latinLnBrk="0" hangingPunct="1">
              <a:lnSpc>
                <a:spcPct val="110000"/>
              </a:lnSpc>
              <a:spcBef>
                <a:spcPct val="0"/>
              </a:spcBef>
              <a:spcAft>
                <a:spcPts val="300"/>
              </a:spcAft>
              <a:buFont typeface="Arial" panose="020B0604020202020204" pitchFamily="34" charset="0"/>
              <a:buChar char="•"/>
              <a:defRPr sz="1200" kern="1200">
                <a:solidFill>
                  <a:schemeClr val="tx1"/>
                </a:solidFill>
                <a:latin typeface="+mn-lt"/>
                <a:ea typeface="+mn-ea"/>
                <a:cs typeface="+mn-cs"/>
              </a:defRPr>
            </a:lvl3pPr>
            <a:lvl4pPr marL="432000" indent="-144000" algn="l" defTabSz="914400" rtl="0" eaLnBrk="1" latinLnBrk="0" hangingPunct="1">
              <a:lnSpc>
                <a:spcPct val="110000"/>
              </a:lnSpc>
              <a:spcBef>
                <a:spcPct val="0"/>
              </a:spcBef>
              <a:spcAft>
                <a:spcPts val="300"/>
              </a:spcAft>
              <a:buFont typeface="Arial" panose="020B0604020202020204" pitchFamily="34" charset="0"/>
              <a:buChar char="•"/>
              <a:defRPr sz="120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300"/>
              </a:spcAft>
              <a:buFontTx/>
              <a:buNone/>
              <a:defRPr sz="1200" b="1" kern="1200">
                <a:solidFill>
                  <a:schemeClr val="tx1"/>
                </a:solidFill>
                <a:latin typeface="+mn-lt"/>
                <a:ea typeface="+mn-ea"/>
                <a:cs typeface="+mn-cs"/>
              </a:defRPr>
            </a:lvl5pPr>
            <a:lvl6pPr marL="0" indent="0" algn="l" defTabSz="914400" rtl="0" eaLnBrk="1" latinLnBrk="0" hangingPunct="1">
              <a:lnSpc>
                <a:spcPct val="110000"/>
              </a:lnSpc>
              <a:spcBef>
                <a:spcPts val="1200"/>
              </a:spcBef>
              <a:spcAft>
                <a:spcPct val="0"/>
              </a:spcAft>
              <a:buFontTx/>
              <a:buNone/>
              <a:defRPr sz="1600" kern="1200">
                <a:solidFill>
                  <a:schemeClr val="tx1"/>
                </a:solidFill>
                <a:latin typeface="+mn-lt"/>
                <a:ea typeface="+mn-ea"/>
                <a:cs typeface="+mn-cs"/>
              </a:defRPr>
            </a:lvl6pPr>
            <a:lvl7pPr marL="252000" indent="-252000" algn="l" defTabSz="914400" rtl="0" eaLnBrk="1" latinLnBrk="0" hangingPunct="1">
              <a:lnSpc>
                <a:spcPct val="110000"/>
              </a:lnSpc>
              <a:spcBef>
                <a:spcPts val="1200"/>
              </a:spcBef>
              <a:spcAft>
                <a:spcPct val="0"/>
              </a:spcAft>
              <a:buFont typeface="Arial" panose="020B0604020202020204" pitchFamily="34" charset="0"/>
              <a:buChar char="•"/>
              <a:defRPr sz="1600" kern="1200">
                <a:solidFill>
                  <a:schemeClr val="tx1"/>
                </a:solidFill>
                <a:latin typeface="+mn-lt"/>
                <a:ea typeface="+mn-ea"/>
                <a:cs typeface="+mn-cs"/>
              </a:defRPr>
            </a:lvl7pPr>
            <a:lvl8pPr marL="504000" indent="-252000" algn="l" defTabSz="914400" rtl="0" eaLnBrk="1" latinLnBrk="0" hangingPunct="1">
              <a:lnSpc>
                <a:spcPct val="110000"/>
              </a:lnSpc>
              <a:spcBef>
                <a:spcPts val="600"/>
              </a:spcBef>
              <a:spcAft>
                <a:spcPct val="0"/>
              </a:spcAft>
              <a:buFont typeface="Arial" panose="020B0604020202020204" pitchFamily="34" charset="0"/>
              <a:buChar char="•"/>
              <a:defRPr sz="1600" kern="1200">
                <a:solidFill>
                  <a:schemeClr val="tx1"/>
                </a:solidFill>
                <a:latin typeface="+mn-lt"/>
                <a:ea typeface="+mn-ea"/>
                <a:cs typeface="+mn-cs"/>
              </a:defRPr>
            </a:lvl8pPr>
            <a:lvl9pPr marL="0" indent="0" algn="l" defTabSz="914400" rtl="0" eaLnBrk="1" latinLnBrk="0" hangingPunct="1">
              <a:lnSpc>
                <a:spcPct val="110000"/>
              </a:lnSpc>
              <a:spcBef>
                <a:spcPts val="1800"/>
              </a:spcBef>
              <a:spcAft>
                <a:spcPct val="0"/>
              </a:spcAft>
              <a:buFontTx/>
              <a:buNone/>
              <a:defRPr sz="1600" b="1" kern="1200">
                <a:solidFill>
                  <a:schemeClr val="tx1"/>
                </a:solidFill>
                <a:latin typeface="+mn-lt"/>
                <a:ea typeface="+mn-ea"/>
                <a:cs typeface="+mn-cs"/>
              </a:defRPr>
            </a:lvl9pPr>
          </a:lstStyle>
          <a:p>
            <a:pPr>
              <a:lnSpc>
                <a:spcPct val="90000"/>
              </a:lnSpc>
              <a:spcBef>
                <a:spcPct val="0"/>
              </a:spcBef>
              <a:spcAft>
                <a:spcPct val="0"/>
              </a:spcAft>
            </a:pPr>
            <a:r>
              <a:rPr lang="en-GB" sz="1000"/>
              <a:t>NOTE:  Your toolbar may look different, due to different editions, differently sized monitors and different screen resolutions</a:t>
            </a:r>
            <a:endParaRPr lang="en-US" sz="1000"/>
          </a:p>
        </p:txBody>
      </p:sp>
      <p:sp>
        <p:nvSpPr>
          <p:cNvPr id="6" name="Freeform: Shape 46">
            <a:extLst>
              <a:ext uri="{FF2B5EF4-FFF2-40B4-BE49-F238E27FC236}">
                <a16:creationId xmlns:a16="http://schemas.microsoft.com/office/drawing/2014/main" id="{5160D3F1-B4A3-75D7-62FC-B078EE155629}"/>
              </a:ext>
            </a:extLst>
          </p:cNvPr>
          <p:cNvSpPr/>
          <p:nvPr>
            <p:custDataLst>
              <p:tags r:id="rId10"/>
            </p:custDataLst>
          </p:nvPr>
        </p:nvSpPr>
        <p:spPr>
          <a:xfrm>
            <a:off x="332509" y="6176249"/>
            <a:ext cx="486900" cy="488496"/>
          </a:xfrm>
          <a:custGeom>
            <a:avLst/>
            <a:gdLst>
              <a:gd name="connsiteX0" fmla="*/ 7 w 646114"/>
              <a:gd name="connsiteY0" fmla="*/ 91776 h 648232"/>
              <a:gd name="connsiteX1" fmla="*/ 264060 w 646114"/>
              <a:gd name="connsiteY1" fmla="*/ 55890 h 648232"/>
              <a:gd name="connsiteX2" fmla="*/ 264060 w 646114"/>
              <a:gd name="connsiteY2" fmla="*/ 310589 h 648232"/>
              <a:gd name="connsiteX3" fmla="*/ 155 w 646114"/>
              <a:gd name="connsiteY3" fmla="*/ 312089 h 648232"/>
              <a:gd name="connsiteX4" fmla="*/ 263942 w 646114"/>
              <a:gd name="connsiteY4" fmla="*/ 339856 h 648232"/>
              <a:gd name="connsiteX5" fmla="*/ 264148 w 646114"/>
              <a:gd name="connsiteY5" fmla="*/ 594760 h 648232"/>
              <a:gd name="connsiteX6" fmla="*/ 213 w 646114"/>
              <a:gd name="connsiteY6" fmla="*/ 558463 h 648232"/>
              <a:gd name="connsiteX7" fmla="*/ 213 w 646114"/>
              <a:gd name="connsiteY7" fmla="*/ 338268 h 648232"/>
              <a:gd name="connsiteX8" fmla="*/ 295945 w 646114"/>
              <a:gd name="connsiteY8" fmla="*/ 51125 h 648232"/>
              <a:gd name="connsiteX9" fmla="*/ 646034 w 646114"/>
              <a:gd name="connsiteY9" fmla="*/ 3 h 648232"/>
              <a:gd name="connsiteX10" fmla="*/ 646034 w 646114"/>
              <a:gd name="connsiteY10" fmla="*/ 307265 h 648232"/>
              <a:gd name="connsiteX11" fmla="*/ 296004 w 646114"/>
              <a:gd name="connsiteY11" fmla="*/ 310030 h 648232"/>
              <a:gd name="connsiteX12" fmla="*/ 646122 w 646114"/>
              <a:gd name="connsiteY12" fmla="*/ 342327 h 648232"/>
              <a:gd name="connsiteX13" fmla="*/ 646122 w 646114"/>
              <a:gd name="connsiteY13" fmla="*/ 648236 h 648232"/>
              <a:gd name="connsiteX14" fmla="*/ 296092 w 646114"/>
              <a:gd name="connsiteY14" fmla="*/ 598820 h 648232"/>
              <a:gd name="connsiteX15" fmla="*/ 295592 w 646114"/>
              <a:gd name="connsiteY15" fmla="*/ 341797 h 64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6114" h="648232">
                <a:moveTo>
                  <a:pt x="7" y="91776"/>
                </a:moveTo>
                <a:lnTo>
                  <a:pt x="264060" y="55890"/>
                </a:lnTo>
                <a:lnTo>
                  <a:pt x="264060" y="310589"/>
                </a:lnTo>
                <a:lnTo>
                  <a:pt x="155" y="312089"/>
                </a:lnTo>
                <a:close/>
                <a:moveTo>
                  <a:pt x="263942" y="339856"/>
                </a:moveTo>
                <a:lnTo>
                  <a:pt x="264148" y="594760"/>
                </a:lnTo>
                <a:lnTo>
                  <a:pt x="213" y="558463"/>
                </a:lnTo>
                <a:lnTo>
                  <a:pt x="213" y="338268"/>
                </a:lnTo>
                <a:close/>
                <a:moveTo>
                  <a:pt x="295945" y="51125"/>
                </a:moveTo>
                <a:lnTo>
                  <a:pt x="646034" y="3"/>
                </a:lnTo>
                <a:lnTo>
                  <a:pt x="646034" y="307265"/>
                </a:lnTo>
                <a:lnTo>
                  <a:pt x="296004" y="310030"/>
                </a:lnTo>
                <a:close/>
                <a:moveTo>
                  <a:pt x="646122" y="342327"/>
                </a:moveTo>
                <a:lnTo>
                  <a:pt x="646122" y="648236"/>
                </a:lnTo>
                <a:lnTo>
                  <a:pt x="296092" y="598820"/>
                </a:lnTo>
                <a:lnTo>
                  <a:pt x="295592" y="341797"/>
                </a:lnTo>
                <a:close/>
              </a:path>
            </a:pathLst>
          </a:custGeom>
          <a:solidFill>
            <a:schemeClr val="accent4"/>
          </a:solidFill>
          <a:ln w="29337" cap="flat">
            <a:noFill/>
            <a:prstDash val="solid"/>
            <a:miter/>
          </a:ln>
        </p:spPr>
        <p:txBody>
          <a:bodyPr rtlCol="0" anchor="ctr"/>
          <a:lstStyle/>
          <a:p>
            <a:endParaRPr lang="en-GB"/>
          </a:p>
        </p:txBody>
      </p:sp>
    </p:spTree>
    <p:custDataLst>
      <p:tags r:id="rId1"/>
    </p:custDataLst>
    <p:extLst>
      <p:ext uri="{BB962C8B-B14F-4D97-AF65-F5344CB8AC3E}">
        <p14:creationId xmlns:p14="http://schemas.microsoft.com/office/powerpoint/2010/main" val="3990098288"/>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439D2-F8C4-4468-B717-A757F3914032}"/>
              </a:ext>
            </a:extLst>
          </p:cNvPr>
          <p:cNvSpPr>
            <a:spLocks noGrp="1"/>
          </p:cNvSpPr>
          <p:nvPr>
            <p:ph type="title"/>
          </p:nvPr>
        </p:nvSpPr>
        <p:spPr>
          <a:xfrm>
            <a:off x="552000" y="332768"/>
            <a:ext cx="11088001" cy="936000"/>
          </a:xfrm>
        </p:spPr>
        <p:txBody>
          <a:bodyPr/>
          <a:lstStyle/>
          <a:p>
            <a:r>
              <a:rPr lang="en-GB" dirty="0"/>
              <a:t>Overview of empower® Express Lite ribbon</a:t>
            </a:r>
          </a:p>
        </p:txBody>
      </p:sp>
      <p:sp>
        <p:nvSpPr>
          <p:cNvPr id="13" name="TextBox 12">
            <a:extLst>
              <a:ext uri="{FF2B5EF4-FFF2-40B4-BE49-F238E27FC236}">
                <a16:creationId xmlns:a16="http://schemas.microsoft.com/office/drawing/2014/main" id="{EC526978-0823-4697-81F3-B6D7424D2802}"/>
              </a:ext>
            </a:extLst>
          </p:cNvPr>
          <p:cNvSpPr txBox="1"/>
          <p:nvPr>
            <p:custDataLst>
              <p:tags r:id="rId2"/>
            </p:custDataLst>
          </p:nvPr>
        </p:nvSpPr>
        <p:spPr>
          <a:xfrm>
            <a:off x="552000" y="4292809"/>
            <a:ext cx="2664000" cy="1728000"/>
          </a:xfrm>
          <a:prstGeom prst="rect">
            <a:avLst/>
          </a:prstGeom>
          <a:solidFill>
            <a:srgbClr val="E5F8FF"/>
          </a:solidFill>
          <a:effectLst/>
        </p:spPr>
        <p:txBody>
          <a:bodyPr vert="horz" wrap="square" lIns="54000" tIns="46800" rIns="54000" bIns="82800" numCol="1" rtlCol="0">
            <a:spAutoFit/>
          </a:bodyPr>
          <a:lstStyle/>
          <a:p>
            <a:pPr>
              <a:spcAft>
                <a:spcPts val="200"/>
              </a:spcAft>
            </a:pPr>
            <a:r>
              <a:rPr lang="en-GB" sz="1400">
                <a:latin typeface="Segoe UI Semibold" panose="020B0502040204020203" pitchFamily="34" charset="0"/>
              </a:rPr>
              <a:t>Text</a:t>
            </a:r>
          </a:p>
          <a:p>
            <a:pPr marL="144000" indent="-144000" defTabSz="486000">
              <a:spcAft>
                <a:spcPts val="600"/>
              </a:spcAft>
              <a:buClr>
                <a:schemeClr val="accent1"/>
              </a:buClr>
              <a:buFont typeface="Wingdings" pitchFamily="2" charset="2"/>
              <a:buChar char="§"/>
            </a:pPr>
            <a:r>
              <a:rPr lang="en-GB" sz="900" b="1">
                <a:solidFill>
                  <a:schemeClr val="accent2"/>
                </a:solidFill>
              </a:rPr>
              <a:t>FONT DROPDOWN </a:t>
            </a:r>
            <a:r>
              <a:rPr lang="en-GB" sz="900"/>
              <a:t>– shows only your design approved fonts</a:t>
            </a:r>
          </a:p>
          <a:p>
            <a:pPr marL="144000" indent="-144000" defTabSz="486000">
              <a:spcAft>
                <a:spcPts val="600"/>
              </a:spcAft>
              <a:buClr>
                <a:schemeClr val="accent1"/>
              </a:buClr>
              <a:buFont typeface="Wingdings" pitchFamily="2" charset="2"/>
              <a:buChar char="§"/>
            </a:pPr>
            <a:r>
              <a:rPr lang="en-GB" sz="900" b="1">
                <a:solidFill>
                  <a:schemeClr val="accent2"/>
                </a:solidFill>
              </a:rPr>
              <a:t>BULLET</a:t>
            </a:r>
            <a:r>
              <a:rPr lang="en-GB" sz="900"/>
              <a:t> – applies your design approved bullets (not the Microsoft default bullets)</a:t>
            </a:r>
          </a:p>
          <a:p>
            <a:pPr marL="144000" indent="-144000" defTabSz="486000">
              <a:spcAft>
                <a:spcPts val="600"/>
              </a:spcAft>
              <a:buClr>
                <a:schemeClr val="accent1"/>
              </a:buClr>
              <a:buFont typeface="Wingdings" pitchFamily="2" charset="2"/>
              <a:buChar char="§"/>
            </a:pPr>
            <a:r>
              <a:rPr lang="en-GB" sz="900" b="1">
                <a:solidFill>
                  <a:schemeClr val="accent2"/>
                </a:solidFill>
              </a:rPr>
              <a:t>INCREASE/DECREASE INDENT </a:t>
            </a:r>
            <a:r>
              <a:rPr lang="en-GB" sz="900"/>
              <a:t>– toggles through the text levels set in the template placeholders</a:t>
            </a:r>
          </a:p>
          <a:p>
            <a:pPr marL="144000" indent="-144000" defTabSz="486000">
              <a:spcAft>
                <a:spcPts val="600"/>
              </a:spcAft>
              <a:buClr>
                <a:schemeClr val="accent1"/>
              </a:buClr>
              <a:buFont typeface="Wingdings" pitchFamily="2" charset="2"/>
              <a:buChar char="§"/>
            </a:pPr>
            <a:r>
              <a:rPr lang="en-GB" sz="900"/>
              <a:t>Other handy PowerPoint text and paragraph formatting tools </a:t>
            </a:r>
            <a:endParaRPr lang="en-GB" sz="1100"/>
          </a:p>
        </p:txBody>
      </p:sp>
      <p:grpSp>
        <p:nvGrpSpPr>
          <p:cNvPr id="7" name="Group 6">
            <a:extLst>
              <a:ext uri="{FF2B5EF4-FFF2-40B4-BE49-F238E27FC236}">
                <a16:creationId xmlns:a16="http://schemas.microsoft.com/office/drawing/2014/main" id="{CC6731AC-FCA7-AF21-EFE6-2033710E6665}"/>
              </a:ext>
            </a:extLst>
          </p:cNvPr>
          <p:cNvGrpSpPr>
            <a:grpSpLocks noChangeAspect="1"/>
          </p:cNvGrpSpPr>
          <p:nvPr/>
        </p:nvGrpSpPr>
        <p:grpSpPr>
          <a:xfrm>
            <a:off x="552000" y="3107637"/>
            <a:ext cx="11088001" cy="1078808"/>
            <a:chOff x="458400" y="3378599"/>
            <a:chExt cx="11268000" cy="1096321"/>
          </a:xfrm>
        </p:grpSpPr>
        <p:pic>
          <p:nvPicPr>
            <p:cNvPr id="4" name="Picture 3">
              <a:extLst>
                <a:ext uri="{FF2B5EF4-FFF2-40B4-BE49-F238E27FC236}">
                  <a16:creationId xmlns:a16="http://schemas.microsoft.com/office/drawing/2014/main" id="{9983E757-2D9E-4FBD-A20A-0C6422680158}"/>
                </a:ext>
              </a:extLst>
            </p:cNvPr>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58400" y="3378599"/>
              <a:ext cx="11268000" cy="1096320"/>
            </a:xfrm>
            <a:prstGeom prst="rect">
              <a:avLst/>
            </a:prstGeom>
          </p:spPr>
        </p:pic>
        <p:sp>
          <p:nvSpPr>
            <p:cNvPr id="10" name="Rectangle 9">
              <a:extLst>
                <a:ext uri="{FF2B5EF4-FFF2-40B4-BE49-F238E27FC236}">
                  <a16:creationId xmlns:a16="http://schemas.microsoft.com/office/drawing/2014/main" id="{59F683FD-6D18-41F1-940B-5D3542E48BDD}"/>
                </a:ext>
              </a:extLst>
            </p:cNvPr>
            <p:cNvSpPr/>
            <p:nvPr>
              <p:custDataLst>
                <p:tags r:id="rId12"/>
              </p:custDataLst>
            </p:nvPr>
          </p:nvSpPr>
          <p:spPr>
            <a:xfrm>
              <a:off x="11444570" y="3447487"/>
              <a:ext cx="277249" cy="200660"/>
            </a:xfrm>
            <a:prstGeom prst="rect">
              <a:avLst/>
            </a:prstGeom>
            <a:solidFill>
              <a:srgbClr val="F3F2F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600">
                <a:solidFill>
                  <a:schemeClr val="tx1"/>
                </a:solidFill>
              </a:endParaRPr>
            </a:p>
          </p:txBody>
        </p:sp>
        <p:sp>
          <p:nvSpPr>
            <p:cNvPr id="23" name="Rectangle 22">
              <a:extLst>
                <a:ext uri="{FF2B5EF4-FFF2-40B4-BE49-F238E27FC236}">
                  <a16:creationId xmlns:a16="http://schemas.microsoft.com/office/drawing/2014/main" id="{C96E58EC-11F0-439D-BA8F-F99E484D5958}"/>
                </a:ext>
              </a:extLst>
            </p:cNvPr>
            <p:cNvSpPr/>
            <p:nvPr>
              <p:custDataLst>
                <p:tags r:id="rId13"/>
              </p:custDataLst>
            </p:nvPr>
          </p:nvSpPr>
          <p:spPr>
            <a:xfrm>
              <a:off x="2158729" y="3670464"/>
              <a:ext cx="1993392" cy="804456"/>
            </a:xfrm>
            <a:prstGeom prst="rect">
              <a:avLst/>
            </a:prstGeom>
            <a:noFill/>
            <a:ln w="9525"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600">
                <a:solidFill>
                  <a:schemeClr val="tx1"/>
                </a:solidFill>
              </a:endParaRPr>
            </a:p>
          </p:txBody>
        </p:sp>
        <p:sp>
          <p:nvSpPr>
            <p:cNvPr id="27" name="Rectangle 26">
              <a:extLst>
                <a:ext uri="{FF2B5EF4-FFF2-40B4-BE49-F238E27FC236}">
                  <a16:creationId xmlns:a16="http://schemas.microsoft.com/office/drawing/2014/main" id="{56CDFB36-A807-4E67-98C7-3967C9CF3504}"/>
                </a:ext>
              </a:extLst>
            </p:cNvPr>
            <p:cNvSpPr/>
            <p:nvPr>
              <p:custDataLst>
                <p:tags r:id="rId14"/>
              </p:custDataLst>
            </p:nvPr>
          </p:nvSpPr>
          <p:spPr>
            <a:xfrm>
              <a:off x="4152868" y="3670464"/>
              <a:ext cx="694944" cy="804456"/>
            </a:xfrm>
            <a:prstGeom prst="rect">
              <a:avLst/>
            </a:prstGeom>
            <a:noFill/>
            <a:ln w="9525"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600">
                <a:solidFill>
                  <a:schemeClr val="tx1"/>
                </a:solidFill>
              </a:endParaRPr>
            </a:p>
          </p:txBody>
        </p:sp>
        <p:sp>
          <p:nvSpPr>
            <p:cNvPr id="29" name="Rectangle 28">
              <a:extLst>
                <a:ext uri="{FF2B5EF4-FFF2-40B4-BE49-F238E27FC236}">
                  <a16:creationId xmlns:a16="http://schemas.microsoft.com/office/drawing/2014/main" id="{64C57511-5052-4782-B28F-98A0233AC0E2}"/>
                </a:ext>
              </a:extLst>
            </p:cNvPr>
            <p:cNvSpPr/>
            <p:nvPr>
              <p:custDataLst>
                <p:tags r:id="rId15"/>
              </p:custDataLst>
            </p:nvPr>
          </p:nvSpPr>
          <p:spPr>
            <a:xfrm>
              <a:off x="6052870" y="3670464"/>
              <a:ext cx="2936748" cy="804456"/>
            </a:xfrm>
            <a:prstGeom prst="rect">
              <a:avLst/>
            </a:prstGeom>
            <a:noFill/>
            <a:ln w="9525"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600">
                <a:solidFill>
                  <a:schemeClr val="tx1"/>
                </a:solidFill>
              </a:endParaRPr>
            </a:p>
          </p:txBody>
        </p:sp>
        <p:sp>
          <p:nvSpPr>
            <p:cNvPr id="30" name="Rectangle 29">
              <a:extLst>
                <a:ext uri="{FF2B5EF4-FFF2-40B4-BE49-F238E27FC236}">
                  <a16:creationId xmlns:a16="http://schemas.microsoft.com/office/drawing/2014/main" id="{E05FF6A6-C490-49F0-BB80-1AEFB5DFAD53}"/>
                </a:ext>
              </a:extLst>
            </p:cNvPr>
            <p:cNvSpPr/>
            <p:nvPr>
              <p:custDataLst>
                <p:tags r:id="rId16"/>
              </p:custDataLst>
            </p:nvPr>
          </p:nvSpPr>
          <p:spPr>
            <a:xfrm>
              <a:off x="8990363" y="3670464"/>
              <a:ext cx="468000" cy="804456"/>
            </a:xfrm>
            <a:prstGeom prst="rect">
              <a:avLst/>
            </a:prstGeom>
            <a:noFill/>
            <a:ln w="9525"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600">
                <a:solidFill>
                  <a:schemeClr val="tx1"/>
                </a:solidFill>
              </a:endParaRPr>
            </a:p>
          </p:txBody>
        </p:sp>
        <p:sp>
          <p:nvSpPr>
            <p:cNvPr id="31" name="Rectangle 30">
              <a:extLst>
                <a:ext uri="{FF2B5EF4-FFF2-40B4-BE49-F238E27FC236}">
                  <a16:creationId xmlns:a16="http://schemas.microsoft.com/office/drawing/2014/main" id="{3A2D2EA5-DE1E-4E09-A62D-950989061940}"/>
                </a:ext>
              </a:extLst>
            </p:cNvPr>
            <p:cNvSpPr/>
            <p:nvPr>
              <p:custDataLst>
                <p:tags r:id="rId17"/>
              </p:custDataLst>
            </p:nvPr>
          </p:nvSpPr>
          <p:spPr>
            <a:xfrm>
              <a:off x="9459110" y="3670464"/>
              <a:ext cx="631952" cy="804456"/>
            </a:xfrm>
            <a:prstGeom prst="rect">
              <a:avLst/>
            </a:prstGeom>
            <a:noFill/>
            <a:ln w="9525"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600">
                <a:solidFill>
                  <a:schemeClr val="tx1"/>
                </a:solidFill>
              </a:endParaRPr>
            </a:p>
          </p:txBody>
        </p:sp>
        <p:sp>
          <p:nvSpPr>
            <p:cNvPr id="32" name="Rectangle 31">
              <a:extLst>
                <a:ext uri="{FF2B5EF4-FFF2-40B4-BE49-F238E27FC236}">
                  <a16:creationId xmlns:a16="http://schemas.microsoft.com/office/drawing/2014/main" id="{4C7DFE6F-8F4B-4F15-B68C-99FD90B0B43D}"/>
                </a:ext>
              </a:extLst>
            </p:cNvPr>
            <p:cNvSpPr/>
            <p:nvPr>
              <p:custDataLst>
                <p:tags r:id="rId18"/>
              </p:custDataLst>
            </p:nvPr>
          </p:nvSpPr>
          <p:spPr>
            <a:xfrm>
              <a:off x="10091809" y="3670464"/>
              <a:ext cx="499872" cy="804456"/>
            </a:xfrm>
            <a:prstGeom prst="rect">
              <a:avLst/>
            </a:prstGeom>
            <a:noFill/>
            <a:ln w="9525"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600">
                <a:solidFill>
                  <a:schemeClr val="tx1"/>
                </a:solidFill>
              </a:endParaRPr>
            </a:p>
          </p:txBody>
        </p:sp>
        <p:sp>
          <p:nvSpPr>
            <p:cNvPr id="33" name="Rectangle 32">
              <a:extLst>
                <a:ext uri="{FF2B5EF4-FFF2-40B4-BE49-F238E27FC236}">
                  <a16:creationId xmlns:a16="http://schemas.microsoft.com/office/drawing/2014/main" id="{D7518D22-B452-4D66-888D-E408FCE1A4A5}"/>
                </a:ext>
              </a:extLst>
            </p:cNvPr>
            <p:cNvSpPr/>
            <p:nvPr>
              <p:custDataLst>
                <p:tags r:id="rId19"/>
              </p:custDataLst>
            </p:nvPr>
          </p:nvSpPr>
          <p:spPr>
            <a:xfrm>
              <a:off x="10592426" y="3670464"/>
              <a:ext cx="475488" cy="804456"/>
            </a:xfrm>
            <a:prstGeom prst="rect">
              <a:avLst/>
            </a:prstGeom>
            <a:noFill/>
            <a:ln w="9525"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600">
                <a:solidFill>
                  <a:schemeClr val="tx1"/>
                </a:solidFill>
              </a:endParaRPr>
            </a:p>
          </p:txBody>
        </p:sp>
        <p:sp>
          <p:nvSpPr>
            <p:cNvPr id="34" name="Rectangle 33">
              <a:extLst>
                <a:ext uri="{FF2B5EF4-FFF2-40B4-BE49-F238E27FC236}">
                  <a16:creationId xmlns:a16="http://schemas.microsoft.com/office/drawing/2014/main" id="{AC4584AF-B9B4-43FD-B9D6-C88BA29A204C}"/>
                </a:ext>
              </a:extLst>
            </p:cNvPr>
            <p:cNvSpPr/>
            <p:nvPr>
              <p:custDataLst>
                <p:tags r:id="rId20"/>
              </p:custDataLst>
            </p:nvPr>
          </p:nvSpPr>
          <p:spPr>
            <a:xfrm>
              <a:off x="11068661" y="3670464"/>
              <a:ext cx="653158" cy="804456"/>
            </a:xfrm>
            <a:prstGeom prst="rect">
              <a:avLst/>
            </a:prstGeom>
            <a:noFill/>
            <a:ln w="9525"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600">
                <a:solidFill>
                  <a:schemeClr val="tx1"/>
                </a:solidFill>
              </a:endParaRPr>
            </a:p>
          </p:txBody>
        </p:sp>
      </p:grpSp>
      <p:cxnSp>
        <p:nvCxnSpPr>
          <p:cNvPr id="35" name="Connector: Elbow 34">
            <a:extLst>
              <a:ext uri="{FF2B5EF4-FFF2-40B4-BE49-F238E27FC236}">
                <a16:creationId xmlns:a16="http://schemas.microsoft.com/office/drawing/2014/main" id="{108E93B5-590A-484C-B922-48FC7F08D80E}"/>
              </a:ext>
            </a:extLst>
          </p:cNvPr>
          <p:cNvCxnSpPr>
            <a:stCxn id="13" idx="0"/>
            <a:endCxn id="23" idx="2"/>
          </p:cNvCxnSpPr>
          <p:nvPr/>
        </p:nvCxnSpPr>
        <p:spPr>
          <a:xfrm rot="5400000" flipH="1" flipV="1">
            <a:off x="2491789" y="3578656"/>
            <a:ext cx="106364" cy="1321942"/>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FDB71438-E6A5-3181-F4E9-1A147353D6EA}"/>
              </a:ext>
            </a:extLst>
          </p:cNvPr>
          <p:cNvGrpSpPr/>
          <p:nvPr/>
        </p:nvGrpSpPr>
        <p:grpSpPr>
          <a:xfrm>
            <a:off x="3345100" y="4292808"/>
            <a:ext cx="1260000" cy="1728000"/>
            <a:chOff x="3315101" y="4292808"/>
            <a:chExt cx="1260000" cy="1728000"/>
          </a:xfrm>
        </p:grpSpPr>
        <p:sp>
          <p:nvSpPr>
            <p:cNvPr id="15" name="TextBox 14">
              <a:extLst>
                <a:ext uri="{FF2B5EF4-FFF2-40B4-BE49-F238E27FC236}">
                  <a16:creationId xmlns:a16="http://schemas.microsoft.com/office/drawing/2014/main" id="{1375F03C-7A01-4C5C-B76C-B8DA1B0F6F98}"/>
                </a:ext>
              </a:extLst>
            </p:cNvPr>
            <p:cNvSpPr txBox="1"/>
            <p:nvPr>
              <p:custDataLst>
                <p:tags r:id="rId11"/>
              </p:custDataLst>
            </p:nvPr>
          </p:nvSpPr>
          <p:spPr>
            <a:xfrm>
              <a:off x="3315101" y="4292808"/>
              <a:ext cx="1260000" cy="1728000"/>
            </a:xfrm>
            <a:prstGeom prst="rect">
              <a:avLst/>
            </a:prstGeom>
            <a:solidFill>
              <a:srgbClr val="E5F8FF"/>
            </a:solidFill>
            <a:effectLst/>
          </p:spPr>
          <p:txBody>
            <a:bodyPr vert="horz" wrap="square" lIns="54000" tIns="46800" rIns="54000" bIns="82800" numCol="1" rtlCol="0">
              <a:noAutofit/>
            </a:bodyPr>
            <a:lstStyle/>
            <a:p>
              <a:pPr>
                <a:spcAft>
                  <a:spcPts val="200"/>
                </a:spcAft>
              </a:pPr>
              <a:r>
                <a:rPr lang="en-GB" sz="1400">
                  <a:latin typeface="Segoe UI Semibold" panose="020B0502040204020203" pitchFamily="34" charset="0"/>
                </a:rPr>
                <a:t>Colour</a:t>
              </a:r>
            </a:p>
            <a:p>
              <a:pPr defTabSz="486000">
                <a:spcAft>
                  <a:spcPts val="600"/>
                </a:spcAft>
                <a:buClr>
                  <a:schemeClr val="accent1"/>
                </a:buClr>
              </a:pPr>
              <a:r>
                <a:rPr lang="en-GB" sz="900" b="1">
                  <a:solidFill>
                    <a:schemeClr val="accent2"/>
                  </a:solidFill>
                </a:rPr>
                <a:t>FONT/ FILL/ LINE </a:t>
              </a:r>
              <a:r>
                <a:rPr lang="en-GB" sz="900"/>
                <a:t>– shows only your design approved colours</a:t>
              </a:r>
            </a:p>
            <a:p>
              <a:pPr marL="180000" indent="-180000" defTabSz="486000">
                <a:spcAft>
                  <a:spcPts val="600"/>
                </a:spcAft>
                <a:buClr>
                  <a:schemeClr val="accent1"/>
                </a:buClr>
                <a:buFont typeface="Wingdings" pitchFamily="2" charset="2"/>
                <a:buChar char="§"/>
              </a:pPr>
              <a:endParaRPr lang="en-GB" sz="1200"/>
            </a:p>
          </p:txBody>
        </p:sp>
        <p:pic>
          <p:nvPicPr>
            <p:cNvPr id="39" name="Picture 38">
              <a:extLst>
                <a:ext uri="{FF2B5EF4-FFF2-40B4-BE49-F238E27FC236}">
                  <a16:creationId xmlns:a16="http://schemas.microsoft.com/office/drawing/2014/main" id="{0BE899A4-E3E8-40B7-BCA9-A289991790EA}"/>
                </a:ext>
              </a:extLst>
            </p:cNvPr>
            <p:cNvPicPr>
              <a:picLocks noChangeAspect="1"/>
            </p:cNvPicPr>
            <p:nvPr/>
          </p:nvPicPr>
          <p:blipFill>
            <a:blip r:embed="rId24" cstate="screen">
              <a:extLst>
                <a:ext uri="{28A0092B-C50C-407E-A947-70E740481C1C}">
                  <a14:useLocalDpi xmlns:a14="http://schemas.microsoft.com/office/drawing/2010/main"/>
                </a:ext>
              </a:extLst>
            </a:blip>
            <a:srcRect/>
            <a:stretch>
              <a:fillRect/>
            </a:stretch>
          </p:blipFill>
          <p:spPr>
            <a:xfrm>
              <a:off x="3367822" y="5117322"/>
              <a:ext cx="1154559" cy="828001"/>
            </a:xfrm>
            <a:prstGeom prst="rect">
              <a:avLst/>
            </a:prstGeom>
            <a:effectLst>
              <a:outerShdw blurRad="50800" dist="38100" dir="2700000" algn="tl" rotWithShape="0">
                <a:prstClr val="black">
                  <a:alpha val="40000"/>
                </a:prstClr>
              </a:outerShdw>
            </a:effectLst>
          </p:spPr>
        </p:pic>
      </p:grpSp>
      <p:cxnSp>
        <p:nvCxnSpPr>
          <p:cNvPr id="42" name="Connector: Elbow 41">
            <a:extLst>
              <a:ext uri="{FF2B5EF4-FFF2-40B4-BE49-F238E27FC236}">
                <a16:creationId xmlns:a16="http://schemas.microsoft.com/office/drawing/2014/main" id="{DCC60A7B-E7A8-4639-AB16-A5C6C4B56344}"/>
              </a:ext>
            </a:extLst>
          </p:cNvPr>
          <p:cNvCxnSpPr/>
          <p:nvPr/>
        </p:nvCxnSpPr>
        <p:spPr>
          <a:xfrm rot="5400000" flipH="1" flipV="1">
            <a:off x="7242422" y="4386897"/>
            <a:ext cx="190798" cy="366845"/>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8F30DBA1-0A20-49B7-9473-20B06CFD89FB}"/>
              </a:ext>
            </a:extLst>
          </p:cNvPr>
          <p:cNvSpPr txBox="1"/>
          <p:nvPr>
            <p:custDataLst>
              <p:tags r:id="rId3"/>
            </p:custDataLst>
          </p:nvPr>
        </p:nvSpPr>
        <p:spPr>
          <a:xfrm>
            <a:off x="9818902" y="4292808"/>
            <a:ext cx="900000" cy="1728000"/>
          </a:xfrm>
          <a:prstGeom prst="rect">
            <a:avLst/>
          </a:prstGeom>
          <a:solidFill>
            <a:srgbClr val="E5F8FF"/>
          </a:solidFill>
          <a:effectLst/>
        </p:spPr>
        <p:txBody>
          <a:bodyPr vert="horz" wrap="square" lIns="54000" tIns="46800" rIns="54000" bIns="82800" numCol="1" rtlCol="0">
            <a:noAutofit/>
          </a:bodyPr>
          <a:lstStyle/>
          <a:p>
            <a:pPr>
              <a:spcAft>
                <a:spcPts val="200"/>
              </a:spcAft>
            </a:pPr>
            <a:r>
              <a:rPr lang="en-GB" sz="1400">
                <a:latin typeface="Segoe UI Semibold" panose="020B0502040204020203" pitchFamily="34" charset="0"/>
              </a:rPr>
              <a:t>Layout tools</a:t>
            </a:r>
          </a:p>
          <a:p>
            <a:pPr defTabSz="486000">
              <a:spcAft>
                <a:spcPts val="600"/>
              </a:spcAft>
              <a:buClr>
                <a:schemeClr val="accent1"/>
              </a:buClr>
            </a:pPr>
            <a:r>
              <a:rPr lang="en-GB" sz="900"/>
              <a:t>Tools to help with formatting, sizing, positioning and editing objects. See overleaf for further details</a:t>
            </a:r>
          </a:p>
        </p:txBody>
      </p:sp>
      <p:sp>
        <p:nvSpPr>
          <p:cNvPr id="49" name="TextBox 48">
            <a:extLst>
              <a:ext uri="{FF2B5EF4-FFF2-40B4-BE49-F238E27FC236}">
                <a16:creationId xmlns:a16="http://schemas.microsoft.com/office/drawing/2014/main" id="{C9ABADC5-2111-449E-93C3-D141A0D9323B}"/>
              </a:ext>
            </a:extLst>
          </p:cNvPr>
          <p:cNvSpPr txBox="1"/>
          <p:nvPr>
            <p:custDataLst>
              <p:tags r:id="rId4"/>
            </p:custDataLst>
          </p:nvPr>
        </p:nvSpPr>
        <p:spPr>
          <a:xfrm>
            <a:off x="6420000" y="1273272"/>
            <a:ext cx="3276000" cy="1728000"/>
          </a:xfrm>
          <a:prstGeom prst="rect">
            <a:avLst/>
          </a:prstGeom>
          <a:solidFill>
            <a:srgbClr val="E5F8FF"/>
          </a:solidFill>
          <a:effectLst/>
        </p:spPr>
        <p:txBody>
          <a:bodyPr vert="horz" wrap="square" lIns="54000" tIns="46800" rIns="54000" bIns="46800" numCol="1" rtlCol="0">
            <a:noAutofit/>
          </a:bodyPr>
          <a:lstStyle/>
          <a:p>
            <a:pPr>
              <a:spcAft>
                <a:spcPts val="200"/>
              </a:spcAft>
            </a:pPr>
            <a:r>
              <a:rPr lang="en-GB" sz="1400">
                <a:latin typeface="Segoe UI Semibold" panose="020B0502040204020203" pitchFamily="34" charset="0"/>
              </a:rPr>
              <a:t>Presentation</a:t>
            </a:r>
          </a:p>
          <a:p>
            <a:pPr marL="144000" indent="-144000" defTabSz="486000">
              <a:spcAft>
                <a:spcPts val="600"/>
              </a:spcAft>
              <a:buClr>
                <a:schemeClr val="accent1"/>
              </a:buClr>
              <a:buFont typeface="Wingdings" pitchFamily="2" charset="2"/>
              <a:buChar char="§"/>
            </a:pPr>
            <a:r>
              <a:rPr lang="en-GB" sz="900" b="1">
                <a:solidFill>
                  <a:schemeClr val="accent2"/>
                </a:solidFill>
              </a:rPr>
              <a:t>PRESENTATION SETTINGS </a:t>
            </a:r>
            <a:r>
              <a:rPr lang="en-GB" sz="900"/>
              <a:t>– to set language, page no. footer</a:t>
            </a:r>
          </a:p>
          <a:p>
            <a:pPr marL="144000" indent="-144000" defTabSz="486000">
              <a:spcAft>
                <a:spcPts val="600"/>
              </a:spcAft>
              <a:buClr>
                <a:schemeClr val="accent1"/>
              </a:buClr>
              <a:buFont typeface="Wingdings" pitchFamily="2" charset="2"/>
              <a:buChar char="§"/>
            </a:pPr>
            <a:r>
              <a:rPr lang="en-GB" sz="900" b="1">
                <a:solidFill>
                  <a:schemeClr val="accent2"/>
                </a:solidFill>
              </a:rPr>
              <a:t>CORPORATE DESIGN CHECK </a:t>
            </a:r>
            <a:r>
              <a:rPr lang="en-GB" sz="900"/>
              <a:t>–checks conformity to your design</a:t>
            </a:r>
          </a:p>
          <a:p>
            <a:pPr marL="144000" indent="-144000" defTabSz="486000">
              <a:spcAft>
                <a:spcPts val="600"/>
              </a:spcAft>
              <a:buClr>
                <a:schemeClr val="accent1"/>
              </a:buClr>
              <a:buFont typeface="Wingdings" pitchFamily="2" charset="2"/>
              <a:buChar char="§"/>
            </a:pPr>
            <a:r>
              <a:rPr lang="en-GB" sz="900" b="1">
                <a:solidFill>
                  <a:schemeClr val="accent2"/>
                </a:solidFill>
              </a:rPr>
              <a:t>SPELLCHECK</a:t>
            </a:r>
            <a:r>
              <a:rPr lang="en-GB" sz="900"/>
              <a:t> language</a:t>
            </a:r>
          </a:p>
          <a:p>
            <a:pPr marL="144000" indent="-144000" defTabSz="486000">
              <a:spcAft>
                <a:spcPts val="600"/>
              </a:spcAft>
              <a:buClr>
                <a:schemeClr val="accent1"/>
              </a:buClr>
              <a:buFont typeface="Wingdings" pitchFamily="2" charset="2"/>
              <a:buChar char="§"/>
            </a:pPr>
            <a:r>
              <a:rPr lang="en-GB" sz="900" b="1">
                <a:solidFill>
                  <a:schemeClr val="accent2"/>
                </a:solidFill>
              </a:rPr>
              <a:t>PRESENTATION TOOLS </a:t>
            </a:r>
            <a:r>
              <a:rPr lang="en-GB" sz="900"/>
              <a:t>– slide protection, layout cleaner, remove animations, remove notes/comments</a:t>
            </a:r>
          </a:p>
          <a:p>
            <a:pPr marL="144000" indent="-144000" defTabSz="486000">
              <a:spcAft>
                <a:spcPts val="600"/>
              </a:spcAft>
              <a:buClr>
                <a:schemeClr val="accent1"/>
              </a:buClr>
              <a:buFont typeface="Wingdings" pitchFamily="2" charset="2"/>
              <a:buChar char="§"/>
            </a:pPr>
            <a:r>
              <a:rPr lang="en-GB" sz="900" b="1">
                <a:solidFill>
                  <a:schemeClr val="accent2"/>
                </a:solidFill>
              </a:rPr>
              <a:t>SEND/ SAVE SLIDES </a:t>
            </a:r>
            <a:r>
              <a:rPr lang="en-GB" sz="900"/>
              <a:t>– send or save whole presentations or single slides and selections from directly within PowerPoint</a:t>
            </a:r>
          </a:p>
        </p:txBody>
      </p:sp>
      <p:cxnSp>
        <p:nvCxnSpPr>
          <p:cNvPr id="58" name="Connector: Elbow 57">
            <a:extLst>
              <a:ext uri="{FF2B5EF4-FFF2-40B4-BE49-F238E27FC236}">
                <a16:creationId xmlns:a16="http://schemas.microsoft.com/office/drawing/2014/main" id="{B7222C82-E944-4209-97B5-20091F883824}"/>
              </a:ext>
            </a:extLst>
          </p:cNvPr>
          <p:cNvCxnSpPr>
            <a:stCxn id="49" idx="2"/>
            <a:endCxn id="31" idx="0"/>
          </p:cNvCxnSpPr>
          <p:nvPr/>
        </p:nvCxnSpPr>
        <p:spPr>
          <a:xfrm rot="16200000" flipH="1">
            <a:off x="8692145" y="2367127"/>
            <a:ext cx="393568" cy="1661858"/>
          </a:xfrm>
          <a:prstGeom prst="bentConnector3">
            <a:avLst>
              <a:gd name="adj1" fmla="val 13214"/>
            </a:avLst>
          </a:prstGeom>
          <a:ln w="12700"/>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03143839-FDED-48BB-A8D7-F82BFE151104}"/>
              </a:ext>
            </a:extLst>
          </p:cNvPr>
          <p:cNvSpPr txBox="1"/>
          <p:nvPr>
            <p:custDataLst>
              <p:tags r:id="rId5"/>
            </p:custDataLst>
          </p:nvPr>
        </p:nvSpPr>
        <p:spPr>
          <a:xfrm>
            <a:off x="4734200" y="4292808"/>
            <a:ext cx="4955602" cy="1728000"/>
          </a:xfrm>
          <a:prstGeom prst="rect">
            <a:avLst/>
          </a:prstGeom>
          <a:solidFill>
            <a:srgbClr val="E5F8FF"/>
          </a:solidFill>
          <a:effectLst/>
        </p:spPr>
        <p:txBody>
          <a:bodyPr vert="horz" wrap="square" lIns="54000" tIns="46800" rIns="2934000" bIns="82800" numCol="1" spcCol="252000" rtlCol="0">
            <a:noAutofit/>
          </a:bodyPr>
          <a:lstStyle/>
          <a:p>
            <a:pPr>
              <a:spcAft>
                <a:spcPts val="200"/>
              </a:spcAft>
            </a:pPr>
            <a:r>
              <a:rPr lang="en-GB" sz="1400">
                <a:latin typeface="Segoe UI Semibold" panose="020B0502040204020203" pitchFamily="34" charset="0"/>
              </a:rPr>
              <a:t>Insert</a:t>
            </a:r>
          </a:p>
          <a:p>
            <a:pPr marL="144000" indent="-144000" defTabSz="486000">
              <a:spcAft>
                <a:spcPts val="600"/>
              </a:spcAft>
              <a:buClr>
                <a:schemeClr val="accent1"/>
              </a:buClr>
              <a:buFont typeface="Wingdings" pitchFamily="2" charset="2"/>
              <a:buChar char="§"/>
            </a:pPr>
            <a:r>
              <a:rPr lang="en-GB" sz="900" b="1">
                <a:solidFill>
                  <a:schemeClr val="accent2"/>
                </a:solidFill>
              </a:rPr>
              <a:t>AGENDA</a:t>
            </a:r>
            <a:r>
              <a:rPr lang="en-GB" sz="800"/>
              <a:t> – automated Agenda Editor</a:t>
            </a:r>
          </a:p>
          <a:p>
            <a:pPr marL="144000" indent="-144000" defTabSz="486000">
              <a:spcAft>
                <a:spcPts val="600"/>
              </a:spcAft>
              <a:buClr>
                <a:schemeClr val="accent1"/>
              </a:buClr>
              <a:buFont typeface="Wingdings" pitchFamily="2" charset="2"/>
              <a:buChar char="§"/>
            </a:pPr>
            <a:r>
              <a:rPr lang="en-GB" sz="900" b="1">
                <a:solidFill>
                  <a:schemeClr val="accent2"/>
                </a:solidFill>
              </a:rPr>
              <a:t>FAVOURITES</a:t>
            </a:r>
            <a:r>
              <a:rPr lang="en-GB" sz="800"/>
              <a:t> – Right hand mouse click on any library element to add them to your favourites for quick access</a:t>
            </a:r>
          </a:p>
          <a:p>
            <a:pPr marL="144000" indent="-144000" defTabSz="486000">
              <a:spcAft>
                <a:spcPts val="600"/>
              </a:spcAft>
              <a:buClr>
                <a:schemeClr val="accent1"/>
              </a:buClr>
              <a:buFont typeface="Wingdings" pitchFamily="2" charset="2"/>
              <a:buChar char="§"/>
            </a:pPr>
            <a:r>
              <a:rPr lang="en-GB" sz="900" b="1">
                <a:solidFill>
                  <a:schemeClr val="accent2"/>
                </a:solidFill>
              </a:rPr>
              <a:t>PRESENTATION</a:t>
            </a:r>
            <a:r>
              <a:rPr lang="en-GB" sz="800"/>
              <a:t> – Access 10k+ design graphics and layouts to give your presentation a more professional finish</a:t>
            </a:r>
          </a:p>
          <a:p>
            <a:pPr marL="144000" indent="-144000" defTabSz="486000">
              <a:spcAft>
                <a:spcPts val="600"/>
              </a:spcAft>
              <a:buClr>
                <a:schemeClr val="accent1"/>
              </a:buClr>
              <a:buFont typeface="Wingdings" pitchFamily="2" charset="2"/>
              <a:buChar char="§"/>
            </a:pPr>
            <a:r>
              <a:rPr lang="en-GB" sz="900" b="1">
                <a:solidFill>
                  <a:schemeClr val="accent2"/>
                </a:solidFill>
              </a:rPr>
              <a:t>SLIDES</a:t>
            </a:r>
            <a:r>
              <a:rPr lang="en-GB" sz="800"/>
              <a:t> – Access professionally designed commonly used layouts and slides</a:t>
            </a:r>
          </a:p>
        </p:txBody>
      </p:sp>
      <p:sp>
        <p:nvSpPr>
          <p:cNvPr id="66" name="TextBox 65">
            <a:extLst>
              <a:ext uri="{FF2B5EF4-FFF2-40B4-BE49-F238E27FC236}">
                <a16:creationId xmlns:a16="http://schemas.microsoft.com/office/drawing/2014/main" id="{631E9FCB-A66A-4CD2-9EF3-B7EB130271F6}"/>
              </a:ext>
            </a:extLst>
          </p:cNvPr>
          <p:cNvSpPr txBox="1"/>
          <p:nvPr>
            <p:custDataLst>
              <p:tags r:id="rId6"/>
            </p:custDataLst>
          </p:nvPr>
        </p:nvSpPr>
        <p:spPr>
          <a:xfrm>
            <a:off x="6809802" y="4292808"/>
            <a:ext cx="2880000" cy="1728000"/>
          </a:xfrm>
          <a:prstGeom prst="rect">
            <a:avLst/>
          </a:prstGeom>
          <a:solidFill>
            <a:srgbClr val="E5F8FF"/>
          </a:solidFill>
          <a:ln>
            <a:noFill/>
          </a:ln>
          <a:effectLst/>
        </p:spPr>
        <p:txBody>
          <a:bodyPr vert="horz" wrap="square" lIns="90000" tIns="46800" rIns="90000" bIns="46800" numCol="1" spcCol="252000" rtlCol="0">
            <a:noAutofit/>
          </a:bodyPr>
          <a:lstStyle/>
          <a:p>
            <a:pPr marL="144000" indent="-144000" defTabSz="486000">
              <a:spcAft>
                <a:spcPts val="600"/>
              </a:spcAft>
              <a:buClr>
                <a:schemeClr val="accent1"/>
              </a:buClr>
              <a:buFont typeface="Wingdings" pitchFamily="2" charset="2"/>
              <a:buChar char="§"/>
            </a:pPr>
            <a:r>
              <a:rPr lang="en-GB" sz="900" b="1">
                <a:solidFill>
                  <a:schemeClr val="accent2"/>
                </a:solidFill>
              </a:rPr>
              <a:t>TEXT ELEMENTS/ CHARTS/ TABLES </a:t>
            </a:r>
            <a:r>
              <a:rPr lang="en-GB" sz="900"/>
              <a:t>– Access the customised building blocks of a slide: editable shapes, text boxes, charts, tables, to make new content creation easily and on brand</a:t>
            </a:r>
          </a:p>
          <a:p>
            <a:pPr marL="144000" indent="-144000" defTabSz="486000">
              <a:spcAft>
                <a:spcPts val="600"/>
              </a:spcAft>
              <a:buClr>
                <a:schemeClr val="accent1"/>
              </a:buClr>
              <a:buFont typeface="Wingdings" pitchFamily="2" charset="2"/>
              <a:buChar char="§"/>
            </a:pPr>
            <a:r>
              <a:rPr lang="en-GB" sz="900" b="1">
                <a:solidFill>
                  <a:schemeClr val="accent2"/>
                </a:solidFill>
              </a:rPr>
              <a:t>ICONS</a:t>
            </a:r>
            <a:r>
              <a:rPr lang="en-GB" sz="900"/>
              <a:t> – Access free collection of editable icons</a:t>
            </a:r>
          </a:p>
          <a:p>
            <a:pPr marL="144000" indent="-144000" defTabSz="486000">
              <a:spcAft>
                <a:spcPts val="600"/>
              </a:spcAft>
              <a:buClr>
                <a:schemeClr val="accent1"/>
              </a:buClr>
              <a:buFont typeface="Wingdings" pitchFamily="2" charset="2"/>
              <a:buChar char="§"/>
            </a:pPr>
            <a:r>
              <a:rPr lang="en-GB" sz="900" b="1">
                <a:solidFill>
                  <a:schemeClr val="accent2"/>
                </a:solidFill>
              </a:rPr>
              <a:t>IMAGES</a:t>
            </a:r>
            <a:r>
              <a:rPr lang="en-GB" sz="900"/>
              <a:t> – Free access to 2m+ images</a:t>
            </a:r>
          </a:p>
          <a:p>
            <a:pPr marL="144000" indent="-144000" defTabSz="486000">
              <a:spcAft>
                <a:spcPts val="600"/>
              </a:spcAft>
              <a:buClr>
                <a:schemeClr val="accent1"/>
              </a:buClr>
              <a:buFont typeface="Wingdings" pitchFamily="2" charset="2"/>
              <a:buChar char="§"/>
            </a:pPr>
            <a:r>
              <a:rPr lang="en-GB" sz="900" b="1">
                <a:solidFill>
                  <a:schemeClr val="accent2"/>
                </a:solidFill>
              </a:rPr>
              <a:t>SHAPES</a:t>
            </a:r>
            <a:r>
              <a:rPr lang="en-GB" sz="900"/>
              <a:t> – standard PowerPoint shapes </a:t>
            </a:r>
          </a:p>
          <a:p>
            <a:pPr marL="144000" indent="-144000" defTabSz="486000">
              <a:spcAft>
                <a:spcPts val="600"/>
              </a:spcAft>
              <a:buClr>
                <a:schemeClr val="accent1"/>
              </a:buClr>
              <a:buFont typeface="Wingdings" pitchFamily="2" charset="2"/>
              <a:buChar char="§"/>
            </a:pPr>
            <a:r>
              <a:rPr lang="en-GB" sz="900" b="1">
                <a:solidFill>
                  <a:schemeClr val="accent2"/>
                </a:solidFill>
              </a:rPr>
              <a:t>MORE</a:t>
            </a:r>
            <a:r>
              <a:rPr lang="en-GB" sz="900"/>
              <a:t> – Insert smart objects and </a:t>
            </a:r>
            <a:br>
              <a:rPr lang="en-GB" sz="900"/>
            </a:br>
            <a:r>
              <a:rPr lang="en-GB" sz="900"/>
              <a:t>linked Excel tables</a:t>
            </a:r>
          </a:p>
        </p:txBody>
      </p:sp>
      <p:pic>
        <p:nvPicPr>
          <p:cNvPr id="12" name="Picture 11">
            <a:extLst>
              <a:ext uri="{FF2B5EF4-FFF2-40B4-BE49-F238E27FC236}">
                <a16:creationId xmlns:a16="http://schemas.microsoft.com/office/drawing/2014/main" id="{CF70EB9D-C9A2-4C88-80DC-7C600F828BC7}"/>
              </a:ext>
            </a:extLst>
          </p:cNvPr>
          <p:cNvPicPr>
            <a:picLocks noChangeAspect="1"/>
          </p:cNvPicPr>
          <p:nvPr/>
        </p:nvPicPr>
        <p:blipFill>
          <a:blip r:embed="rId25" cstate="screen">
            <a:extLst>
              <a:ext uri="{28A0092B-C50C-407E-A947-70E740481C1C}">
                <a14:useLocalDpi xmlns:a14="http://schemas.microsoft.com/office/drawing/2010/main"/>
              </a:ext>
            </a:extLst>
          </a:blip>
          <a:srcRect l="1604" r="3364" b="1664"/>
          <a:stretch>
            <a:fillRect/>
          </a:stretch>
        </p:blipFill>
        <p:spPr>
          <a:xfrm>
            <a:off x="9012203" y="5128752"/>
            <a:ext cx="575310" cy="816571"/>
          </a:xfrm>
          <a:prstGeom prst="rect">
            <a:avLst/>
          </a:prstGeom>
          <a:solidFill>
            <a:srgbClr val="E5F8FF"/>
          </a:solidFill>
          <a:effectLst>
            <a:outerShdw blurRad="50800" dist="38100" dir="2700000" algn="tl" rotWithShape="0">
              <a:prstClr val="black">
                <a:alpha val="40000"/>
              </a:prstClr>
            </a:outerShdw>
          </a:effectLst>
        </p:spPr>
      </p:pic>
      <p:sp>
        <p:nvSpPr>
          <p:cNvPr id="79" name="TextBox 78">
            <a:extLst>
              <a:ext uri="{FF2B5EF4-FFF2-40B4-BE49-F238E27FC236}">
                <a16:creationId xmlns:a16="http://schemas.microsoft.com/office/drawing/2014/main" id="{43C5AAA7-5869-46D2-A339-B154B89D0C11}"/>
              </a:ext>
            </a:extLst>
          </p:cNvPr>
          <p:cNvSpPr txBox="1"/>
          <p:nvPr>
            <p:custDataLst>
              <p:tags r:id="rId7"/>
            </p:custDataLst>
          </p:nvPr>
        </p:nvSpPr>
        <p:spPr>
          <a:xfrm>
            <a:off x="9840001" y="1273272"/>
            <a:ext cx="1800000" cy="1728000"/>
          </a:xfrm>
          <a:prstGeom prst="rect">
            <a:avLst/>
          </a:prstGeom>
          <a:solidFill>
            <a:srgbClr val="E5F8FF"/>
          </a:solidFill>
          <a:effectLst/>
        </p:spPr>
        <p:txBody>
          <a:bodyPr vert="horz" wrap="square" lIns="54000" tIns="46800" rIns="54000" bIns="46800" numCol="1" rtlCol="0">
            <a:noAutofit/>
          </a:bodyPr>
          <a:lstStyle/>
          <a:p>
            <a:pPr>
              <a:spcAft>
                <a:spcPts val="200"/>
              </a:spcAft>
            </a:pPr>
            <a:r>
              <a:rPr lang="en-GB" sz="1400">
                <a:latin typeface="Segoe UI Semibold" panose="020B0502040204020203" pitchFamily="34" charset="0"/>
              </a:rPr>
              <a:t>Charts</a:t>
            </a:r>
          </a:p>
          <a:p>
            <a:pPr marL="144000" indent="-144000" defTabSz="486000">
              <a:spcAft>
                <a:spcPts val="600"/>
              </a:spcAft>
              <a:buClr>
                <a:schemeClr val="accent1"/>
              </a:buClr>
              <a:buFont typeface="Wingdings" pitchFamily="2" charset="2"/>
              <a:buChar char="§"/>
            </a:pPr>
            <a:r>
              <a:rPr lang="en-GB" sz="900" b="1">
                <a:solidFill>
                  <a:schemeClr val="accent2"/>
                </a:solidFill>
              </a:rPr>
              <a:t>EMPOWER® CHART</a:t>
            </a:r>
            <a:r>
              <a:rPr lang="en-GB" sz="900"/>
              <a:t>– create waterfall charts and other charts with advanced formatting tools and features</a:t>
            </a:r>
          </a:p>
          <a:p>
            <a:pPr marL="144000" indent="-144000" defTabSz="486000">
              <a:spcAft>
                <a:spcPts val="600"/>
              </a:spcAft>
              <a:buClr>
                <a:schemeClr val="accent1"/>
              </a:buClr>
              <a:buFont typeface="Wingdings" pitchFamily="2" charset="2"/>
              <a:buChar char="§"/>
            </a:pPr>
            <a:r>
              <a:rPr lang="en-GB" sz="900" b="1">
                <a:solidFill>
                  <a:schemeClr val="accent2"/>
                </a:solidFill>
              </a:rPr>
              <a:t>GANTT CHART </a:t>
            </a:r>
            <a:r>
              <a:rPr lang="en-GB" sz="900"/>
              <a:t>– create GANTT and project charts quickly and easily and on brand</a:t>
            </a:r>
          </a:p>
          <a:p>
            <a:pPr marL="144000" indent="-144000" defTabSz="486000">
              <a:spcAft>
                <a:spcPts val="600"/>
              </a:spcAft>
              <a:buClr>
                <a:schemeClr val="accent1"/>
              </a:buClr>
              <a:buFont typeface="Wingdings" pitchFamily="2" charset="2"/>
              <a:buChar char="§"/>
            </a:pPr>
            <a:r>
              <a:rPr lang="en-GB" sz="900" b="1">
                <a:solidFill>
                  <a:schemeClr val="accent2"/>
                </a:solidFill>
              </a:rPr>
              <a:t>MORE</a:t>
            </a:r>
            <a:r>
              <a:rPr lang="en-GB" sz="900"/>
              <a:t> – Excel links, user settings, about info.</a:t>
            </a:r>
          </a:p>
        </p:txBody>
      </p:sp>
      <p:cxnSp>
        <p:nvCxnSpPr>
          <p:cNvPr id="82" name="Connector: Elbow 81">
            <a:extLst>
              <a:ext uri="{FF2B5EF4-FFF2-40B4-BE49-F238E27FC236}">
                <a16:creationId xmlns:a16="http://schemas.microsoft.com/office/drawing/2014/main" id="{1D463160-02BD-4AED-A2F4-E83F09F2DB87}"/>
              </a:ext>
            </a:extLst>
          </p:cNvPr>
          <p:cNvCxnSpPr>
            <a:stCxn id="79" idx="2"/>
            <a:endCxn id="34" idx="0"/>
          </p:cNvCxnSpPr>
          <p:nvPr/>
        </p:nvCxnSpPr>
        <p:spPr>
          <a:xfrm rot="16200000" flipH="1">
            <a:off x="10830282" y="2910991"/>
            <a:ext cx="393568" cy="574130"/>
          </a:xfrm>
          <a:prstGeom prst="bentConnector3">
            <a:avLst>
              <a:gd name="adj1" fmla="val 15150"/>
            </a:avLst>
          </a:prstGeom>
          <a:ln w="12700"/>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58D14A2E-FCD4-4977-8ACC-9F60C1083651}"/>
              </a:ext>
            </a:extLst>
          </p:cNvPr>
          <p:cNvSpPr txBox="1"/>
          <p:nvPr>
            <p:custDataLst>
              <p:tags r:id="rId8"/>
            </p:custDataLst>
          </p:nvPr>
        </p:nvSpPr>
        <p:spPr>
          <a:xfrm>
            <a:off x="10848001" y="4292808"/>
            <a:ext cx="792000" cy="1728000"/>
          </a:xfrm>
          <a:prstGeom prst="rect">
            <a:avLst/>
          </a:prstGeom>
          <a:solidFill>
            <a:srgbClr val="E5F8FF"/>
          </a:solidFill>
          <a:effectLst/>
        </p:spPr>
        <p:txBody>
          <a:bodyPr vert="horz" wrap="square" lIns="54000" tIns="46800" rIns="54000" bIns="82800" numCol="1" rtlCol="0">
            <a:noAutofit/>
          </a:bodyPr>
          <a:lstStyle/>
          <a:p>
            <a:pPr>
              <a:spcAft>
                <a:spcPts val="200"/>
              </a:spcAft>
            </a:pPr>
            <a:r>
              <a:rPr lang="en-GB" sz="1400">
                <a:latin typeface="Segoe UI Semibold" panose="020B0502040204020203" pitchFamily="34" charset="0"/>
              </a:rPr>
              <a:t>Support &amp; Help</a:t>
            </a:r>
          </a:p>
          <a:p>
            <a:pPr defTabSz="486000">
              <a:spcAft>
                <a:spcPts val="600"/>
              </a:spcAft>
              <a:buClr>
                <a:schemeClr val="accent1"/>
              </a:buClr>
            </a:pPr>
            <a:r>
              <a:rPr lang="en-GB" sz="900"/>
              <a:t>Access support links, help tools and about info. </a:t>
            </a:r>
          </a:p>
          <a:p>
            <a:pPr defTabSz="486000">
              <a:spcAft>
                <a:spcPts val="600"/>
              </a:spcAft>
              <a:buClr>
                <a:schemeClr val="accent1"/>
              </a:buClr>
            </a:pPr>
            <a:r>
              <a:rPr lang="en-GB" sz="900"/>
              <a:t>Also change system language </a:t>
            </a:r>
          </a:p>
        </p:txBody>
      </p:sp>
      <p:cxnSp>
        <p:nvCxnSpPr>
          <p:cNvPr id="88" name="Connector: Elbow 87">
            <a:extLst>
              <a:ext uri="{FF2B5EF4-FFF2-40B4-BE49-F238E27FC236}">
                <a16:creationId xmlns:a16="http://schemas.microsoft.com/office/drawing/2014/main" id="{28541274-5601-4E2B-AF47-D1AD45ADD434}"/>
              </a:ext>
            </a:extLst>
          </p:cNvPr>
          <p:cNvCxnSpPr>
            <a:stCxn id="43" idx="0"/>
            <a:endCxn id="30" idx="2"/>
          </p:cNvCxnSpPr>
          <p:nvPr/>
        </p:nvCxnSpPr>
        <p:spPr>
          <a:xfrm rot="16200000" flipV="1">
            <a:off x="9670236" y="3694142"/>
            <a:ext cx="106363" cy="1090970"/>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15E431DB-BDDB-4710-BECE-FCD652665B48}"/>
              </a:ext>
            </a:extLst>
          </p:cNvPr>
          <p:cNvCxnSpPr>
            <a:stCxn id="15" idx="0"/>
            <a:endCxn id="27" idx="2"/>
          </p:cNvCxnSpPr>
          <p:nvPr/>
        </p:nvCxnSpPr>
        <p:spPr>
          <a:xfrm rot="5400000" flipH="1" flipV="1">
            <a:off x="4199055" y="3962491"/>
            <a:ext cx="106363" cy="554273"/>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91" name="Connector: Elbow 90">
            <a:extLst>
              <a:ext uri="{FF2B5EF4-FFF2-40B4-BE49-F238E27FC236}">
                <a16:creationId xmlns:a16="http://schemas.microsoft.com/office/drawing/2014/main" id="{385E9CA1-E901-469D-87F1-6DE91A3D577C}"/>
              </a:ext>
            </a:extLst>
          </p:cNvPr>
          <p:cNvCxnSpPr>
            <a:stCxn id="87" idx="0"/>
            <a:endCxn id="33" idx="2"/>
          </p:cNvCxnSpPr>
          <p:nvPr/>
        </p:nvCxnSpPr>
        <p:spPr>
          <a:xfrm rot="16200000" flipV="1">
            <a:off x="10947864" y="3996670"/>
            <a:ext cx="106363" cy="485913"/>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151CFADD-AFE0-4B65-9533-2983AE2D24D8}"/>
              </a:ext>
            </a:extLst>
          </p:cNvPr>
          <p:cNvCxnSpPr>
            <a:stCxn id="17" idx="0"/>
            <a:endCxn id="29" idx="2"/>
          </p:cNvCxnSpPr>
          <p:nvPr/>
        </p:nvCxnSpPr>
        <p:spPr>
          <a:xfrm rot="5400000" flipH="1" flipV="1">
            <a:off x="7303829" y="4094618"/>
            <a:ext cx="106363" cy="290019"/>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sp>
        <p:nvSpPr>
          <p:cNvPr id="57" name="_Footnotes - full width">
            <a:extLst>
              <a:ext uri="{FF2B5EF4-FFF2-40B4-BE49-F238E27FC236}">
                <a16:creationId xmlns:a16="http://schemas.microsoft.com/office/drawing/2014/main" id="{39BF9C89-267B-DD2A-659B-0D0ED5C6135A}"/>
              </a:ext>
            </a:extLst>
          </p:cNvPr>
          <p:cNvSpPr txBox="1"/>
          <p:nvPr>
            <p:custDataLst>
              <p:tags r:id="rId9"/>
            </p:custDataLst>
          </p:nvPr>
        </p:nvSpPr>
        <p:spPr>
          <a:xfrm>
            <a:off x="994577" y="6524469"/>
            <a:ext cx="10188000" cy="138499"/>
          </a:xfrm>
          <a:prstGeom prst="rect">
            <a:avLst/>
          </a:prstGeom>
          <a:noFill/>
        </p:spPr>
        <p:txBody>
          <a:bodyPr vert="horz" lIns="0" tIns="0" rIns="0" bIns="0" rtlCol="0" anchor="b">
            <a:spAutoFit/>
          </a:bodyPr>
          <a:lstStyle>
            <a:lvl1pPr marL="0" indent="0" algn="l" defTabSz="914400" rtl="0" eaLnBrk="1" latinLnBrk="0" hangingPunct="1">
              <a:lnSpc>
                <a:spcPct val="110000"/>
              </a:lnSpc>
              <a:spcBef>
                <a:spcPts val="600"/>
              </a:spcBef>
              <a:spcAft>
                <a:spcPts val="300"/>
              </a:spcAft>
              <a:buFontTx/>
              <a:buNone/>
              <a:defRPr sz="1200" kern="1200">
                <a:solidFill>
                  <a:schemeClr val="tx1"/>
                </a:solidFill>
                <a:latin typeface="+mn-lt"/>
                <a:ea typeface="+mn-ea"/>
                <a:cs typeface="+mn-cs"/>
              </a:defRPr>
            </a:lvl1pPr>
            <a:lvl2pPr marL="144000" indent="-144000" algn="l" defTabSz="914400" rtl="0" eaLnBrk="1" latinLnBrk="0" hangingPunct="1">
              <a:lnSpc>
                <a:spcPct val="110000"/>
              </a:lnSpc>
              <a:spcBef>
                <a:spcPts val="600"/>
              </a:spcBef>
              <a:spcAft>
                <a:spcPts val="300"/>
              </a:spcAft>
              <a:buFont typeface="Arial" panose="020B0604020202020204" pitchFamily="34" charset="0"/>
              <a:buChar char="•"/>
              <a:defRPr sz="1200" kern="1200">
                <a:solidFill>
                  <a:schemeClr val="tx1"/>
                </a:solidFill>
                <a:latin typeface="+mn-lt"/>
                <a:ea typeface="+mn-ea"/>
                <a:cs typeface="+mn-cs"/>
              </a:defRPr>
            </a:lvl2pPr>
            <a:lvl3pPr marL="288000" indent="-144000" algn="l" defTabSz="914400" rtl="0" eaLnBrk="1" latinLnBrk="0" hangingPunct="1">
              <a:lnSpc>
                <a:spcPct val="110000"/>
              </a:lnSpc>
              <a:spcBef>
                <a:spcPct val="0"/>
              </a:spcBef>
              <a:spcAft>
                <a:spcPts val="300"/>
              </a:spcAft>
              <a:buFont typeface="Arial" panose="020B0604020202020204" pitchFamily="34" charset="0"/>
              <a:buChar char="•"/>
              <a:defRPr sz="1200" kern="1200">
                <a:solidFill>
                  <a:schemeClr val="tx1"/>
                </a:solidFill>
                <a:latin typeface="+mn-lt"/>
                <a:ea typeface="+mn-ea"/>
                <a:cs typeface="+mn-cs"/>
              </a:defRPr>
            </a:lvl3pPr>
            <a:lvl4pPr marL="432000" indent="-144000" algn="l" defTabSz="914400" rtl="0" eaLnBrk="1" latinLnBrk="0" hangingPunct="1">
              <a:lnSpc>
                <a:spcPct val="110000"/>
              </a:lnSpc>
              <a:spcBef>
                <a:spcPct val="0"/>
              </a:spcBef>
              <a:spcAft>
                <a:spcPts val="300"/>
              </a:spcAft>
              <a:buFont typeface="Arial" panose="020B0604020202020204" pitchFamily="34" charset="0"/>
              <a:buChar char="•"/>
              <a:defRPr sz="120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300"/>
              </a:spcAft>
              <a:buFontTx/>
              <a:buNone/>
              <a:defRPr sz="1200" b="1" kern="1200">
                <a:solidFill>
                  <a:schemeClr val="tx1"/>
                </a:solidFill>
                <a:latin typeface="+mn-lt"/>
                <a:ea typeface="+mn-ea"/>
                <a:cs typeface="+mn-cs"/>
              </a:defRPr>
            </a:lvl5pPr>
            <a:lvl6pPr marL="0" indent="0" algn="l" defTabSz="914400" rtl="0" eaLnBrk="1" latinLnBrk="0" hangingPunct="1">
              <a:lnSpc>
                <a:spcPct val="110000"/>
              </a:lnSpc>
              <a:spcBef>
                <a:spcPts val="1200"/>
              </a:spcBef>
              <a:spcAft>
                <a:spcPct val="0"/>
              </a:spcAft>
              <a:buFontTx/>
              <a:buNone/>
              <a:defRPr sz="1600" kern="1200">
                <a:solidFill>
                  <a:schemeClr val="tx1"/>
                </a:solidFill>
                <a:latin typeface="+mn-lt"/>
                <a:ea typeface="+mn-ea"/>
                <a:cs typeface="+mn-cs"/>
              </a:defRPr>
            </a:lvl6pPr>
            <a:lvl7pPr marL="252000" indent="-252000" algn="l" defTabSz="914400" rtl="0" eaLnBrk="1" latinLnBrk="0" hangingPunct="1">
              <a:lnSpc>
                <a:spcPct val="110000"/>
              </a:lnSpc>
              <a:spcBef>
                <a:spcPts val="1200"/>
              </a:spcBef>
              <a:spcAft>
                <a:spcPct val="0"/>
              </a:spcAft>
              <a:buFont typeface="Arial" panose="020B0604020202020204" pitchFamily="34" charset="0"/>
              <a:buChar char="•"/>
              <a:defRPr sz="1600" kern="1200">
                <a:solidFill>
                  <a:schemeClr val="tx1"/>
                </a:solidFill>
                <a:latin typeface="+mn-lt"/>
                <a:ea typeface="+mn-ea"/>
                <a:cs typeface="+mn-cs"/>
              </a:defRPr>
            </a:lvl7pPr>
            <a:lvl8pPr marL="504000" indent="-252000" algn="l" defTabSz="914400" rtl="0" eaLnBrk="1" latinLnBrk="0" hangingPunct="1">
              <a:lnSpc>
                <a:spcPct val="110000"/>
              </a:lnSpc>
              <a:spcBef>
                <a:spcPts val="600"/>
              </a:spcBef>
              <a:spcAft>
                <a:spcPct val="0"/>
              </a:spcAft>
              <a:buFont typeface="Arial" panose="020B0604020202020204" pitchFamily="34" charset="0"/>
              <a:buChar char="•"/>
              <a:defRPr sz="1600" kern="1200">
                <a:solidFill>
                  <a:schemeClr val="tx1"/>
                </a:solidFill>
                <a:latin typeface="+mn-lt"/>
                <a:ea typeface="+mn-ea"/>
                <a:cs typeface="+mn-cs"/>
              </a:defRPr>
            </a:lvl8pPr>
            <a:lvl9pPr marL="0" indent="0" algn="l" defTabSz="914400" rtl="0" eaLnBrk="1" latinLnBrk="0" hangingPunct="1">
              <a:lnSpc>
                <a:spcPct val="110000"/>
              </a:lnSpc>
              <a:spcBef>
                <a:spcPts val="1800"/>
              </a:spcBef>
              <a:spcAft>
                <a:spcPct val="0"/>
              </a:spcAft>
              <a:buFontTx/>
              <a:buNone/>
              <a:defRPr sz="1600" b="1" kern="1200">
                <a:solidFill>
                  <a:schemeClr val="tx1"/>
                </a:solidFill>
                <a:latin typeface="+mn-lt"/>
                <a:ea typeface="+mn-ea"/>
                <a:cs typeface="+mn-cs"/>
              </a:defRPr>
            </a:lvl9pPr>
          </a:lstStyle>
          <a:p>
            <a:pPr>
              <a:lnSpc>
                <a:spcPct val="90000"/>
              </a:lnSpc>
              <a:spcBef>
                <a:spcPct val="0"/>
              </a:spcBef>
              <a:spcAft>
                <a:spcPct val="0"/>
              </a:spcAft>
            </a:pPr>
            <a:r>
              <a:rPr lang="en-GB" sz="1000"/>
              <a:t>NOTE:  Your toolbar may look different, due to different editions, differently sized monitors and different screen resolutions</a:t>
            </a:r>
            <a:endParaRPr lang="en-US" sz="1000"/>
          </a:p>
        </p:txBody>
      </p:sp>
      <p:sp>
        <p:nvSpPr>
          <p:cNvPr id="9" name="Freeform: Shape 46">
            <a:extLst>
              <a:ext uri="{FF2B5EF4-FFF2-40B4-BE49-F238E27FC236}">
                <a16:creationId xmlns:a16="http://schemas.microsoft.com/office/drawing/2014/main" id="{30C406AB-9A77-F242-A3A9-A8CD50686E04}"/>
              </a:ext>
            </a:extLst>
          </p:cNvPr>
          <p:cNvSpPr/>
          <p:nvPr>
            <p:custDataLst>
              <p:tags r:id="rId10"/>
            </p:custDataLst>
          </p:nvPr>
        </p:nvSpPr>
        <p:spPr>
          <a:xfrm>
            <a:off x="332509" y="6176249"/>
            <a:ext cx="486900" cy="488496"/>
          </a:xfrm>
          <a:custGeom>
            <a:avLst/>
            <a:gdLst>
              <a:gd name="connsiteX0" fmla="*/ 7 w 646114"/>
              <a:gd name="connsiteY0" fmla="*/ 91776 h 648232"/>
              <a:gd name="connsiteX1" fmla="*/ 264060 w 646114"/>
              <a:gd name="connsiteY1" fmla="*/ 55890 h 648232"/>
              <a:gd name="connsiteX2" fmla="*/ 264060 w 646114"/>
              <a:gd name="connsiteY2" fmla="*/ 310589 h 648232"/>
              <a:gd name="connsiteX3" fmla="*/ 155 w 646114"/>
              <a:gd name="connsiteY3" fmla="*/ 312089 h 648232"/>
              <a:gd name="connsiteX4" fmla="*/ 263942 w 646114"/>
              <a:gd name="connsiteY4" fmla="*/ 339856 h 648232"/>
              <a:gd name="connsiteX5" fmla="*/ 264148 w 646114"/>
              <a:gd name="connsiteY5" fmla="*/ 594760 h 648232"/>
              <a:gd name="connsiteX6" fmla="*/ 213 w 646114"/>
              <a:gd name="connsiteY6" fmla="*/ 558463 h 648232"/>
              <a:gd name="connsiteX7" fmla="*/ 213 w 646114"/>
              <a:gd name="connsiteY7" fmla="*/ 338268 h 648232"/>
              <a:gd name="connsiteX8" fmla="*/ 295945 w 646114"/>
              <a:gd name="connsiteY8" fmla="*/ 51125 h 648232"/>
              <a:gd name="connsiteX9" fmla="*/ 646034 w 646114"/>
              <a:gd name="connsiteY9" fmla="*/ 3 h 648232"/>
              <a:gd name="connsiteX10" fmla="*/ 646034 w 646114"/>
              <a:gd name="connsiteY10" fmla="*/ 307265 h 648232"/>
              <a:gd name="connsiteX11" fmla="*/ 296004 w 646114"/>
              <a:gd name="connsiteY11" fmla="*/ 310030 h 648232"/>
              <a:gd name="connsiteX12" fmla="*/ 646122 w 646114"/>
              <a:gd name="connsiteY12" fmla="*/ 342327 h 648232"/>
              <a:gd name="connsiteX13" fmla="*/ 646122 w 646114"/>
              <a:gd name="connsiteY13" fmla="*/ 648236 h 648232"/>
              <a:gd name="connsiteX14" fmla="*/ 296092 w 646114"/>
              <a:gd name="connsiteY14" fmla="*/ 598820 h 648232"/>
              <a:gd name="connsiteX15" fmla="*/ 295592 w 646114"/>
              <a:gd name="connsiteY15" fmla="*/ 341797 h 64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6114" h="648232">
                <a:moveTo>
                  <a:pt x="7" y="91776"/>
                </a:moveTo>
                <a:lnTo>
                  <a:pt x="264060" y="55890"/>
                </a:lnTo>
                <a:lnTo>
                  <a:pt x="264060" y="310589"/>
                </a:lnTo>
                <a:lnTo>
                  <a:pt x="155" y="312089"/>
                </a:lnTo>
                <a:close/>
                <a:moveTo>
                  <a:pt x="263942" y="339856"/>
                </a:moveTo>
                <a:lnTo>
                  <a:pt x="264148" y="594760"/>
                </a:lnTo>
                <a:lnTo>
                  <a:pt x="213" y="558463"/>
                </a:lnTo>
                <a:lnTo>
                  <a:pt x="213" y="338268"/>
                </a:lnTo>
                <a:close/>
                <a:moveTo>
                  <a:pt x="295945" y="51125"/>
                </a:moveTo>
                <a:lnTo>
                  <a:pt x="646034" y="3"/>
                </a:lnTo>
                <a:lnTo>
                  <a:pt x="646034" y="307265"/>
                </a:lnTo>
                <a:lnTo>
                  <a:pt x="296004" y="310030"/>
                </a:lnTo>
                <a:close/>
                <a:moveTo>
                  <a:pt x="646122" y="342327"/>
                </a:moveTo>
                <a:lnTo>
                  <a:pt x="646122" y="648236"/>
                </a:lnTo>
                <a:lnTo>
                  <a:pt x="296092" y="598820"/>
                </a:lnTo>
                <a:lnTo>
                  <a:pt x="295592" y="341797"/>
                </a:lnTo>
                <a:close/>
              </a:path>
            </a:pathLst>
          </a:custGeom>
          <a:solidFill>
            <a:schemeClr val="accent4"/>
          </a:solidFill>
          <a:ln w="29337" cap="flat">
            <a:noFill/>
            <a:prstDash val="solid"/>
            <a:miter/>
          </a:ln>
        </p:spPr>
        <p:txBody>
          <a:bodyPr rtlCol="0" anchor="ctr"/>
          <a:lstStyle/>
          <a:p>
            <a:endParaRPr lang="en-GB"/>
          </a:p>
        </p:txBody>
      </p:sp>
    </p:spTree>
    <p:custDataLst>
      <p:tags r:id="rId1"/>
    </p:custDataLst>
    <p:extLst>
      <p:ext uri="{BB962C8B-B14F-4D97-AF65-F5344CB8AC3E}">
        <p14:creationId xmlns:p14="http://schemas.microsoft.com/office/powerpoint/2010/main" val="1761474409"/>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439D2-F8C4-4468-B717-A757F3914032}"/>
              </a:ext>
            </a:extLst>
          </p:cNvPr>
          <p:cNvSpPr>
            <a:spLocks noGrp="1"/>
          </p:cNvSpPr>
          <p:nvPr>
            <p:ph type="title"/>
          </p:nvPr>
        </p:nvSpPr>
        <p:spPr>
          <a:xfrm>
            <a:off x="552000" y="332768"/>
            <a:ext cx="11088001" cy="936000"/>
          </a:xfrm>
        </p:spPr>
        <p:txBody>
          <a:bodyPr/>
          <a:lstStyle/>
          <a:p>
            <a:r>
              <a:rPr lang="en-GB" dirty="0"/>
              <a:t>Tool overview – quick access pane &amp; layout tools sidebar</a:t>
            </a:r>
          </a:p>
        </p:txBody>
      </p:sp>
      <p:sp>
        <p:nvSpPr>
          <p:cNvPr id="14" name="TextBox 13">
            <a:extLst>
              <a:ext uri="{FF2B5EF4-FFF2-40B4-BE49-F238E27FC236}">
                <a16:creationId xmlns:a16="http://schemas.microsoft.com/office/drawing/2014/main" id="{8A2347B8-2104-4A7A-9602-2FF221CC0B02}"/>
              </a:ext>
            </a:extLst>
          </p:cNvPr>
          <p:cNvSpPr txBox="1"/>
          <p:nvPr/>
        </p:nvSpPr>
        <p:spPr>
          <a:xfrm>
            <a:off x="552000" y="1700808"/>
            <a:ext cx="4644000" cy="4320001"/>
          </a:xfrm>
          <a:prstGeom prst="rect">
            <a:avLst/>
          </a:prstGeom>
          <a:solidFill>
            <a:srgbClr val="E5F8FF"/>
          </a:solidFill>
          <a:effectLst/>
        </p:spPr>
        <p:txBody>
          <a:bodyPr vert="horz" wrap="square" lIns="126000" tIns="82800" rIns="126000" bIns="118800" numCol="1" rtlCol="0">
            <a:noAutofit/>
          </a:bodyPr>
          <a:lstStyle/>
          <a:p>
            <a:pPr>
              <a:spcAft>
                <a:spcPts val="600"/>
              </a:spcAft>
            </a:pPr>
            <a:r>
              <a:rPr lang="en-GB" sz="1400">
                <a:latin typeface="Segoe UI Semibold" panose="020B0502040204020203" pitchFamily="34" charset="0"/>
              </a:rPr>
              <a:t>Layout Tools</a:t>
            </a:r>
          </a:p>
          <a:p>
            <a:pPr marL="144000" indent="-144000" defTabSz="486000">
              <a:spcAft>
                <a:spcPts val="500"/>
              </a:spcAft>
              <a:buClr>
                <a:schemeClr val="accent1"/>
              </a:buClr>
              <a:buFont typeface="Wingdings" pitchFamily="2" charset="2"/>
              <a:buChar char="§"/>
            </a:pPr>
            <a:r>
              <a:rPr lang="en-GB" sz="900">
                <a:solidFill>
                  <a:schemeClr val="accent1"/>
                </a:solidFill>
                <a:latin typeface="Segoe UI Semibold" panose="020B0502040204020203" pitchFamily="34" charset="0"/>
              </a:rPr>
              <a:t>ARRANGE</a:t>
            </a:r>
            <a:r>
              <a:rPr lang="en-GB" sz="900"/>
              <a:t> – alignment tools with the added extra of setting a ‘reference’ shape to lead the alignment. Includes a tool to distribute selected shapes horizontally or vertically. Also includes ‘Swap Elements’ tool to swap positions</a:t>
            </a:r>
          </a:p>
          <a:p>
            <a:pPr marL="144000" indent="-144000" defTabSz="486000">
              <a:spcAft>
                <a:spcPts val="500"/>
              </a:spcAft>
              <a:buClr>
                <a:schemeClr val="accent1"/>
              </a:buClr>
              <a:buFont typeface="Wingdings" pitchFamily="2" charset="2"/>
              <a:buChar char="§"/>
            </a:pPr>
            <a:r>
              <a:rPr lang="en-GB" sz="900">
                <a:solidFill>
                  <a:schemeClr val="accent1"/>
                </a:solidFill>
                <a:latin typeface="Segoe UI Semibold" panose="020B0502040204020203" pitchFamily="34" charset="0"/>
              </a:rPr>
              <a:t>POSITION</a:t>
            </a:r>
            <a:r>
              <a:rPr lang="en-GB" sz="900"/>
              <a:t> – positions selected object(s) to the edges of the drawing area (as indicated by the placeholder on the master layout slide)</a:t>
            </a:r>
          </a:p>
          <a:p>
            <a:pPr marL="144000" indent="-144000" defTabSz="486000">
              <a:spcAft>
                <a:spcPts val="500"/>
              </a:spcAft>
              <a:buClr>
                <a:schemeClr val="accent1"/>
              </a:buClr>
              <a:buFont typeface="Wingdings" pitchFamily="2" charset="2"/>
              <a:buChar char="§"/>
            </a:pPr>
            <a:r>
              <a:rPr lang="en-GB" sz="900">
                <a:solidFill>
                  <a:schemeClr val="accent1"/>
                </a:solidFill>
                <a:latin typeface="Segoe UI Semibold" panose="020B0502040204020203" pitchFamily="34" charset="0"/>
              </a:rPr>
              <a:t>RESIZE</a:t>
            </a:r>
            <a:r>
              <a:rPr lang="en-GB" sz="900"/>
              <a:t> – makes shapes the same size (width and/or height) and also extends objects to the same point</a:t>
            </a:r>
          </a:p>
          <a:p>
            <a:pPr marL="144000" indent="-144000" defTabSz="486000">
              <a:spcAft>
                <a:spcPts val="500"/>
              </a:spcAft>
              <a:buClr>
                <a:schemeClr val="accent1"/>
              </a:buClr>
              <a:buFont typeface="Wingdings" pitchFamily="2" charset="2"/>
              <a:buChar char="§"/>
            </a:pPr>
            <a:r>
              <a:rPr lang="en-GB" sz="900">
                <a:solidFill>
                  <a:schemeClr val="accent1"/>
                </a:solidFill>
                <a:latin typeface="Segoe UI Semibold" panose="020B0502040204020203" pitchFamily="34" charset="0"/>
              </a:rPr>
              <a:t>SELECT</a:t>
            </a:r>
            <a:r>
              <a:rPr lang="en-GB" sz="900"/>
              <a:t> – native selection tools of group/ungroup, bring to front/back, open selection pane and new selections of ‘Select Same Colours’ and ‘Select Same Shapes’</a:t>
            </a:r>
          </a:p>
          <a:p>
            <a:pPr marL="144000" indent="-144000" defTabSz="486000">
              <a:spcAft>
                <a:spcPts val="500"/>
              </a:spcAft>
              <a:buClr>
                <a:schemeClr val="accent1"/>
              </a:buClr>
              <a:buFont typeface="Wingdings" pitchFamily="2" charset="2"/>
              <a:buChar char="§"/>
            </a:pPr>
            <a:r>
              <a:rPr lang="en-GB" sz="900">
                <a:solidFill>
                  <a:schemeClr val="accent1"/>
                </a:solidFill>
                <a:latin typeface="Segoe UI Semibold" panose="020B0502040204020203" pitchFamily="34" charset="0"/>
              </a:rPr>
              <a:t>STRETCH</a:t>
            </a:r>
            <a:r>
              <a:rPr lang="en-GB" sz="900"/>
              <a:t> – Resizes a shape or group to the width, height or full size of the drawing area (as defined by the placeholder on the slide master). Also includes arrangement tools to control how groups of shapes are spaced and to create matrix grids</a:t>
            </a:r>
          </a:p>
          <a:p>
            <a:pPr marL="144000" indent="-144000" defTabSz="486000">
              <a:spcAft>
                <a:spcPts val="500"/>
              </a:spcAft>
              <a:buClr>
                <a:schemeClr val="accent1"/>
              </a:buClr>
              <a:buFont typeface="Wingdings" pitchFamily="2" charset="2"/>
              <a:buChar char="§"/>
            </a:pPr>
            <a:r>
              <a:rPr lang="en-GB" sz="900">
                <a:solidFill>
                  <a:schemeClr val="accent1"/>
                </a:solidFill>
                <a:latin typeface="Segoe UI Semibold" panose="020B0502040204020203" pitchFamily="34" charset="0"/>
              </a:rPr>
              <a:t>POSITION PAINTER </a:t>
            </a:r>
            <a:r>
              <a:rPr lang="en-GB" sz="900"/>
              <a:t>– allows you to transfer the size and position of one element to another similar to the format painter function </a:t>
            </a:r>
          </a:p>
          <a:p>
            <a:pPr marL="144000" indent="-144000" defTabSz="486000">
              <a:spcAft>
                <a:spcPts val="500"/>
              </a:spcAft>
              <a:buClr>
                <a:schemeClr val="accent1"/>
              </a:buClr>
              <a:buFont typeface="Wingdings" pitchFamily="2" charset="2"/>
              <a:buChar char="§"/>
            </a:pPr>
            <a:r>
              <a:rPr lang="en-GB" sz="900">
                <a:solidFill>
                  <a:schemeClr val="accent1"/>
                </a:solidFill>
                <a:latin typeface="Segoe UI Semibold" panose="020B0502040204020203" pitchFamily="34" charset="0"/>
              </a:rPr>
              <a:t>DOCK</a:t>
            </a:r>
            <a:r>
              <a:rPr lang="en-GB" sz="900"/>
              <a:t> – aligns two or more objects with one another. It is very useful for ‘gluing’ shapes together quickly and neatly</a:t>
            </a:r>
          </a:p>
          <a:p>
            <a:pPr marL="144000" indent="-144000" defTabSz="486000">
              <a:spcAft>
                <a:spcPts val="500"/>
              </a:spcAft>
              <a:buClr>
                <a:schemeClr val="accent1"/>
              </a:buClr>
              <a:buFont typeface="Wingdings" pitchFamily="2" charset="2"/>
              <a:buChar char="§"/>
            </a:pPr>
            <a:r>
              <a:rPr lang="en-GB" sz="900">
                <a:solidFill>
                  <a:schemeClr val="accent1"/>
                </a:solidFill>
                <a:latin typeface="Segoe UI Semibold" panose="020B0502040204020203" pitchFamily="34" charset="0"/>
              </a:rPr>
              <a:t>ANGLES</a:t>
            </a:r>
            <a:r>
              <a:rPr lang="en-GB" sz="900"/>
              <a:t> – rotates, flips and adjusts corners</a:t>
            </a:r>
          </a:p>
          <a:p>
            <a:pPr marL="144000" indent="-144000" defTabSz="486000">
              <a:spcAft>
                <a:spcPts val="500"/>
              </a:spcAft>
              <a:buClr>
                <a:schemeClr val="accent1"/>
              </a:buClr>
              <a:buFont typeface="Wingdings" pitchFamily="2" charset="2"/>
              <a:buChar char="§"/>
            </a:pPr>
            <a:r>
              <a:rPr lang="en-GB" sz="900">
                <a:solidFill>
                  <a:schemeClr val="accent1"/>
                </a:solidFill>
                <a:latin typeface="Segoe UI Semibold" panose="020B0502040204020203" pitchFamily="34" charset="0"/>
              </a:rPr>
              <a:t>DRAWING</a:t>
            </a:r>
            <a:r>
              <a:rPr lang="en-GB" sz="900"/>
              <a:t> – native tool that is usually hidden, that allows you to join, combine, fragment, intersect and subtract shape selections </a:t>
            </a:r>
          </a:p>
          <a:p>
            <a:pPr marL="144000" indent="-144000" defTabSz="486000">
              <a:spcAft>
                <a:spcPts val="500"/>
              </a:spcAft>
              <a:buClr>
                <a:schemeClr val="accent1"/>
              </a:buClr>
              <a:buFont typeface="Wingdings" pitchFamily="2" charset="2"/>
              <a:buChar char="§"/>
            </a:pPr>
            <a:r>
              <a:rPr lang="en-GB" sz="900">
                <a:solidFill>
                  <a:schemeClr val="accent1"/>
                </a:solidFill>
                <a:latin typeface="Segoe UI Semibold" panose="020B0502040204020203" pitchFamily="34" charset="0"/>
              </a:rPr>
              <a:t>SHAPE</a:t>
            </a:r>
            <a:r>
              <a:rPr lang="en-GB" sz="900"/>
              <a:t> – allows for quick sizing, shape behaviour and text wrap specifications</a:t>
            </a:r>
          </a:p>
          <a:p>
            <a:pPr marL="144000" indent="-144000" defTabSz="486000">
              <a:spcAft>
                <a:spcPts val="500"/>
              </a:spcAft>
              <a:buClr>
                <a:schemeClr val="accent1"/>
              </a:buClr>
              <a:buFont typeface="Wingdings" pitchFamily="2" charset="2"/>
              <a:buChar char="§"/>
            </a:pPr>
            <a:r>
              <a:rPr lang="en-GB" sz="900">
                <a:solidFill>
                  <a:schemeClr val="accent1"/>
                </a:solidFill>
                <a:latin typeface="Segoe UI Semibold" panose="020B0502040204020203" pitchFamily="34" charset="0"/>
              </a:rPr>
              <a:t>MARGINS</a:t>
            </a:r>
            <a:r>
              <a:rPr lang="en-GB" sz="900"/>
              <a:t> – allows for quick setting and application of margin settings</a:t>
            </a:r>
          </a:p>
          <a:p>
            <a:pPr marL="144000" indent="-144000" defTabSz="486000">
              <a:spcAft>
                <a:spcPts val="500"/>
              </a:spcAft>
              <a:buClr>
                <a:schemeClr val="accent1"/>
              </a:buClr>
              <a:buFont typeface="Wingdings" pitchFamily="2" charset="2"/>
              <a:buChar char="§"/>
            </a:pPr>
            <a:r>
              <a:rPr lang="en-GB" sz="900">
                <a:solidFill>
                  <a:schemeClr val="accent1"/>
                </a:solidFill>
                <a:latin typeface="Segoe UI Semibold" panose="020B0502040204020203" pitchFamily="34" charset="0"/>
              </a:rPr>
              <a:t>SPACING</a:t>
            </a:r>
            <a:r>
              <a:rPr lang="en-GB" sz="900"/>
              <a:t> – quick access to useful native PowerPoint tools for line and paragraph spacing</a:t>
            </a:r>
            <a:endParaRPr lang="en-GB" sz="1000"/>
          </a:p>
        </p:txBody>
      </p:sp>
      <p:grpSp>
        <p:nvGrpSpPr>
          <p:cNvPr id="9" name="Group 8">
            <a:extLst>
              <a:ext uri="{FF2B5EF4-FFF2-40B4-BE49-F238E27FC236}">
                <a16:creationId xmlns:a16="http://schemas.microsoft.com/office/drawing/2014/main" id="{8253F9C6-CEC7-0516-C5A2-89945364FF2D}"/>
              </a:ext>
            </a:extLst>
          </p:cNvPr>
          <p:cNvGrpSpPr/>
          <p:nvPr/>
        </p:nvGrpSpPr>
        <p:grpSpPr>
          <a:xfrm>
            <a:off x="9659486" y="1700808"/>
            <a:ext cx="1980516" cy="534368"/>
            <a:chOff x="9745884" y="1387800"/>
            <a:chExt cx="1980516" cy="534368"/>
          </a:xfrm>
        </p:grpSpPr>
        <p:sp>
          <p:nvSpPr>
            <p:cNvPr id="64" name="TextBox 63">
              <a:extLst>
                <a:ext uri="{FF2B5EF4-FFF2-40B4-BE49-F238E27FC236}">
                  <a16:creationId xmlns:a16="http://schemas.microsoft.com/office/drawing/2014/main" id="{55308BFE-BF8B-4A4C-9D10-96CAD48626E3}"/>
                </a:ext>
              </a:extLst>
            </p:cNvPr>
            <p:cNvSpPr txBox="1"/>
            <p:nvPr>
              <p:custDataLst>
                <p:tags r:id="rId39"/>
              </p:custDataLst>
            </p:nvPr>
          </p:nvSpPr>
          <p:spPr>
            <a:xfrm>
              <a:off x="9745884" y="1387800"/>
              <a:ext cx="1980516" cy="534368"/>
            </a:xfrm>
            <a:prstGeom prst="rect">
              <a:avLst/>
            </a:prstGeom>
            <a:solidFill>
              <a:srgbClr val="E5F8FF"/>
            </a:solidFill>
            <a:effectLst/>
          </p:spPr>
          <p:txBody>
            <a:bodyPr vert="horz" wrap="square" lIns="90000" tIns="36000" rIns="90000" bIns="36000" numCol="1" rtlCol="0">
              <a:spAutoFit/>
            </a:bodyPr>
            <a:lstStyle/>
            <a:p>
              <a:r>
                <a:rPr lang="en-GB" sz="1200">
                  <a:latin typeface="Segoe UI Semibold" panose="020B0502040204020203" pitchFamily="34" charset="0"/>
                </a:rPr>
                <a:t>User settings</a:t>
              </a:r>
            </a:p>
            <a:p>
              <a:pPr defTabSz="486000">
                <a:buClr>
                  <a:schemeClr val="accent1"/>
                </a:buClr>
              </a:pPr>
              <a:r>
                <a:rPr lang="en-GB" sz="900"/>
                <a:t>Click the red circle to set ‘Always show sidebar’ </a:t>
              </a:r>
            </a:p>
          </p:txBody>
        </p:sp>
        <p:sp>
          <p:nvSpPr>
            <p:cNvPr id="127" name="Oval 126">
              <a:extLst>
                <a:ext uri="{FF2B5EF4-FFF2-40B4-BE49-F238E27FC236}">
                  <a16:creationId xmlns:a16="http://schemas.microsoft.com/office/drawing/2014/main" id="{8377F422-6B06-4078-BF6D-E5EDC69180BE}"/>
                </a:ext>
              </a:extLst>
            </p:cNvPr>
            <p:cNvSpPr/>
            <p:nvPr>
              <p:custDataLst>
                <p:tags r:id="rId40"/>
              </p:custDataLst>
            </p:nvPr>
          </p:nvSpPr>
          <p:spPr>
            <a:xfrm>
              <a:off x="11546400" y="1387800"/>
              <a:ext cx="180000" cy="1800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800">
                  <a:solidFill>
                    <a:schemeClr val="bg1"/>
                  </a:solidFill>
                  <a:latin typeface="+mj-lt"/>
                </a:rPr>
                <a:t>1</a:t>
              </a:r>
            </a:p>
          </p:txBody>
        </p:sp>
      </p:grpSp>
      <p:grpSp>
        <p:nvGrpSpPr>
          <p:cNvPr id="8" name="Group 7">
            <a:extLst>
              <a:ext uri="{FF2B5EF4-FFF2-40B4-BE49-F238E27FC236}">
                <a16:creationId xmlns:a16="http://schemas.microsoft.com/office/drawing/2014/main" id="{0DE620AA-1E04-12AE-B6F4-DB6D92D5143D}"/>
              </a:ext>
            </a:extLst>
          </p:cNvPr>
          <p:cNvGrpSpPr/>
          <p:nvPr/>
        </p:nvGrpSpPr>
        <p:grpSpPr>
          <a:xfrm>
            <a:off x="9659486" y="2317916"/>
            <a:ext cx="1980516" cy="504000"/>
            <a:chOff x="9745884" y="2122067"/>
            <a:chExt cx="1980516" cy="504000"/>
          </a:xfrm>
        </p:grpSpPr>
        <p:sp>
          <p:nvSpPr>
            <p:cNvPr id="66" name="TextBox 65">
              <a:extLst>
                <a:ext uri="{FF2B5EF4-FFF2-40B4-BE49-F238E27FC236}">
                  <a16:creationId xmlns:a16="http://schemas.microsoft.com/office/drawing/2014/main" id="{5CC467EC-2E99-43A3-B11C-FB6CB88FC666}"/>
                </a:ext>
              </a:extLst>
            </p:cNvPr>
            <p:cNvSpPr txBox="1"/>
            <p:nvPr>
              <p:custDataLst>
                <p:tags r:id="rId37"/>
              </p:custDataLst>
            </p:nvPr>
          </p:nvSpPr>
          <p:spPr>
            <a:xfrm>
              <a:off x="9745884" y="2122067"/>
              <a:ext cx="1980516" cy="504000"/>
            </a:xfrm>
            <a:prstGeom prst="rect">
              <a:avLst/>
            </a:prstGeom>
            <a:solidFill>
              <a:srgbClr val="E5F8FF"/>
            </a:solidFill>
            <a:effectLst/>
          </p:spPr>
          <p:txBody>
            <a:bodyPr vert="horz" wrap="square" lIns="90000" tIns="36000" rIns="90000" bIns="36000" numCol="1" rtlCol="0">
              <a:noAutofit/>
            </a:bodyPr>
            <a:lstStyle/>
            <a:p>
              <a:r>
                <a:rPr lang="en-GB" sz="1200">
                  <a:latin typeface="Segoe UI Semibold" panose="020B0502040204020203" pitchFamily="34" charset="0"/>
                </a:rPr>
                <a:t>Company</a:t>
              </a:r>
            </a:p>
            <a:p>
              <a:r>
                <a:rPr lang="en-GB" sz="900"/>
                <a:t>Access your company folders</a:t>
              </a:r>
            </a:p>
          </p:txBody>
        </p:sp>
        <p:sp>
          <p:nvSpPr>
            <p:cNvPr id="129" name="Oval 128">
              <a:extLst>
                <a:ext uri="{FF2B5EF4-FFF2-40B4-BE49-F238E27FC236}">
                  <a16:creationId xmlns:a16="http://schemas.microsoft.com/office/drawing/2014/main" id="{8346F308-909A-4704-B1D6-E0BEAE4AC6C4}"/>
                </a:ext>
              </a:extLst>
            </p:cNvPr>
            <p:cNvSpPr/>
            <p:nvPr>
              <p:custDataLst>
                <p:tags r:id="rId38"/>
              </p:custDataLst>
            </p:nvPr>
          </p:nvSpPr>
          <p:spPr>
            <a:xfrm>
              <a:off x="11546400" y="2122068"/>
              <a:ext cx="180000" cy="1800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800">
                  <a:solidFill>
                    <a:schemeClr val="bg1"/>
                  </a:solidFill>
                  <a:latin typeface="+mj-lt"/>
                </a:rPr>
                <a:t>3</a:t>
              </a:r>
            </a:p>
          </p:txBody>
        </p:sp>
      </p:grpSp>
      <p:grpSp>
        <p:nvGrpSpPr>
          <p:cNvPr id="7" name="Group 6">
            <a:extLst>
              <a:ext uri="{FF2B5EF4-FFF2-40B4-BE49-F238E27FC236}">
                <a16:creationId xmlns:a16="http://schemas.microsoft.com/office/drawing/2014/main" id="{4A85AEC8-1074-0A4C-EF05-6240634EEC03}"/>
              </a:ext>
            </a:extLst>
          </p:cNvPr>
          <p:cNvGrpSpPr/>
          <p:nvPr/>
        </p:nvGrpSpPr>
        <p:grpSpPr>
          <a:xfrm>
            <a:off x="9659486" y="2904656"/>
            <a:ext cx="1980516" cy="534368"/>
            <a:chOff x="9745884" y="2702448"/>
            <a:chExt cx="1980516" cy="534368"/>
          </a:xfrm>
        </p:grpSpPr>
        <p:sp>
          <p:nvSpPr>
            <p:cNvPr id="68" name="TextBox 67">
              <a:extLst>
                <a:ext uri="{FF2B5EF4-FFF2-40B4-BE49-F238E27FC236}">
                  <a16:creationId xmlns:a16="http://schemas.microsoft.com/office/drawing/2014/main" id="{A55BAE52-D282-4615-B1FB-5420E8E55343}"/>
                </a:ext>
              </a:extLst>
            </p:cNvPr>
            <p:cNvSpPr txBox="1"/>
            <p:nvPr>
              <p:custDataLst>
                <p:tags r:id="rId35"/>
              </p:custDataLst>
            </p:nvPr>
          </p:nvSpPr>
          <p:spPr>
            <a:xfrm>
              <a:off x="9745884" y="2702448"/>
              <a:ext cx="1980516" cy="534368"/>
            </a:xfrm>
            <a:prstGeom prst="rect">
              <a:avLst/>
            </a:prstGeom>
            <a:solidFill>
              <a:srgbClr val="E5F8FF"/>
            </a:solidFill>
            <a:effectLst/>
          </p:spPr>
          <p:txBody>
            <a:bodyPr vert="horz" wrap="square" lIns="90000" tIns="36000" rIns="90000" bIns="36000" numCol="1" rtlCol="0">
              <a:spAutoFit/>
            </a:bodyPr>
            <a:lstStyle/>
            <a:p>
              <a:r>
                <a:rPr lang="en-GB" sz="1200">
                  <a:latin typeface="Segoe UI Semibold" panose="020B0502040204020203" pitchFamily="34" charset="0"/>
                </a:rPr>
                <a:t>Presentations</a:t>
              </a:r>
              <a:endParaRPr lang="en-GB" sz="900">
                <a:latin typeface="Segoe UI Semibold" panose="020B0502040204020203" pitchFamily="34" charset="0"/>
              </a:endParaRPr>
            </a:p>
            <a:p>
              <a:r>
                <a:rPr lang="en-GB" sz="900"/>
                <a:t>Add graphics and diagrams to add interest to your presentations</a:t>
              </a:r>
            </a:p>
          </p:txBody>
        </p:sp>
        <p:sp>
          <p:nvSpPr>
            <p:cNvPr id="131" name="Oval 130">
              <a:extLst>
                <a:ext uri="{FF2B5EF4-FFF2-40B4-BE49-F238E27FC236}">
                  <a16:creationId xmlns:a16="http://schemas.microsoft.com/office/drawing/2014/main" id="{33CAC5B2-D38E-424D-AE67-A13C8C88B199}"/>
                </a:ext>
              </a:extLst>
            </p:cNvPr>
            <p:cNvSpPr/>
            <p:nvPr>
              <p:custDataLst>
                <p:tags r:id="rId36"/>
              </p:custDataLst>
            </p:nvPr>
          </p:nvSpPr>
          <p:spPr>
            <a:xfrm>
              <a:off x="11546400" y="2702448"/>
              <a:ext cx="180000" cy="1800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800">
                  <a:solidFill>
                    <a:schemeClr val="bg1"/>
                  </a:solidFill>
                  <a:latin typeface="+mj-lt"/>
                </a:rPr>
                <a:t>5</a:t>
              </a:r>
            </a:p>
          </p:txBody>
        </p:sp>
      </p:grpSp>
      <p:grpSp>
        <p:nvGrpSpPr>
          <p:cNvPr id="6" name="Group 5">
            <a:extLst>
              <a:ext uri="{FF2B5EF4-FFF2-40B4-BE49-F238E27FC236}">
                <a16:creationId xmlns:a16="http://schemas.microsoft.com/office/drawing/2014/main" id="{CD677F73-B5BA-6B80-7234-AEC0A8C0D12C}"/>
              </a:ext>
            </a:extLst>
          </p:cNvPr>
          <p:cNvGrpSpPr/>
          <p:nvPr/>
        </p:nvGrpSpPr>
        <p:grpSpPr>
          <a:xfrm>
            <a:off x="9659486" y="3521764"/>
            <a:ext cx="1980516" cy="534368"/>
            <a:chOff x="9745884" y="3436715"/>
            <a:chExt cx="1980516" cy="534368"/>
          </a:xfrm>
        </p:grpSpPr>
        <p:sp>
          <p:nvSpPr>
            <p:cNvPr id="70" name="TextBox 69">
              <a:extLst>
                <a:ext uri="{FF2B5EF4-FFF2-40B4-BE49-F238E27FC236}">
                  <a16:creationId xmlns:a16="http://schemas.microsoft.com/office/drawing/2014/main" id="{2E0E1A73-314F-4890-8A59-0097B7DFEB52}"/>
                </a:ext>
              </a:extLst>
            </p:cNvPr>
            <p:cNvSpPr txBox="1"/>
            <p:nvPr>
              <p:custDataLst>
                <p:tags r:id="rId33"/>
              </p:custDataLst>
            </p:nvPr>
          </p:nvSpPr>
          <p:spPr>
            <a:xfrm>
              <a:off x="9745884" y="3436715"/>
              <a:ext cx="1980516" cy="534368"/>
            </a:xfrm>
            <a:prstGeom prst="rect">
              <a:avLst/>
            </a:prstGeom>
            <a:solidFill>
              <a:srgbClr val="E5F8FF"/>
            </a:solidFill>
            <a:effectLst/>
          </p:spPr>
          <p:txBody>
            <a:bodyPr vert="horz" wrap="square" lIns="90000" tIns="36000" rIns="90000" bIns="36000" numCol="1" rtlCol="0">
              <a:spAutoFit/>
            </a:bodyPr>
            <a:lstStyle/>
            <a:p>
              <a:r>
                <a:rPr lang="en-GB" sz="1200">
                  <a:latin typeface="Segoe UI Semibold" panose="020B0502040204020203" pitchFamily="34" charset="0"/>
                </a:rPr>
                <a:t>Text elements</a:t>
              </a:r>
              <a:endParaRPr lang="en-GB" sz="900">
                <a:latin typeface="Segoe UI Semibold" panose="020B0502040204020203" pitchFamily="34" charset="0"/>
              </a:endParaRPr>
            </a:p>
            <a:p>
              <a:r>
                <a:rPr lang="en-GB" sz="900"/>
                <a:t>Add useful page building blocks in your template style</a:t>
              </a:r>
            </a:p>
          </p:txBody>
        </p:sp>
        <p:sp>
          <p:nvSpPr>
            <p:cNvPr id="133" name="Oval 132">
              <a:extLst>
                <a:ext uri="{FF2B5EF4-FFF2-40B4-BE49-F238E27FC236}">
                  <a16:creationId xmlns:a16="http://schemas.microsoft.com/office/drawing/2014/main" id="{B32E1480-38E8-487A-AF1A-C7045B02F06D}"/>
                </a:ext>
              </a:extLst>
            </p:cNvPr>
            <p:cNvSpPr/>
            <p:nvPr>
              <p:custDataLst>
                <p:tags r:id="rId34"/>
              </p:custDataLst>
            </p:nvPr>
          </p:nvSpPr>
          <p:spPr>
            <a:xfrm>
              <a:off x="11546400" y="3436715"/>
              <a:ext cx="180000" cy="1800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800">
                  <a:solidFill>
                    <a:schemeClr val="bg1"/>
                  </a:solidFill>
                  <a:latin typeface="+mj-lt"/>
                </a:rPr>
                <a:t>7</a:t>
              </a:r>
            </a:p>
          </p:txBody>
        </p:sp>
      </p:grpSp>
      <p:grpSp>
        <p:nvGrpSpPr>
          <p:cNvPr id="5" name="Group 4">
            <a:extLst>
              <a:ext uri="{FF2B5EF4-FFF2-40B4-BE49-F238E27FC236}">
                <a16:creationId xmlns:a16="http://schemas.microsoft.com/office/drawing/2014/main" id="{C72442E9-E008-A9D1-3ED3-3D2DF35E5352}"/>
              </a:ext>
            </a:extLst>
          </p:cNvPr>
          <p:cNvGrpSpPr/>
          <p:nvPr/>
        </p:nvGrpSpPr>
        <p:grpSpPr>
          <a:xfrm>
            <a:off x="9659486" y="4138872"/>
            <a:ext cx="1980516" cy="503590"/>
            <a:chOff x="9745884" y="4170982"/>
            <a:chExt cx="1980516" cy="503590"/>
          </a:xfrm>
        </p:grpSpPr>
        <p:sp>
          <p:nvSpPr>
            <p:cNvPr id="89" name="TextBox 88">
              <a:extLst>
                <a:ext uri="{FF2B5EF4-FFF2-40B4-BE49-F238E27FC236}">
                  <a16:creationId xmlns:a16="http://schemas.microsoft.com/office/drawing/2014/main" id="{F08B5698-20AF-44EB-ADA6-D73B8647E333}"/>
                </a:ext>
              </a:extLst>
            </p:cNvPr>
            <p:cNvSpPr txBox="1"/>
            <p:nvPr>
              <p:custDataLst>
                <p:tags r:id="rId31"/>
              </p:custDataLst>
            </p:nvPr>
          </p:nvSpPr>
          <p:spPr>
            <a:xfrm>
              <a:off x="9745884" y="4170982"/>
              <a:ext cx="1980516" cy="503590"/>
            </a:xfrm>
            <a:prstGeom prst="rect">
              <a:avLst/>
            </a:prstGeom>
            <a:solidFill>
              <a:srgbClr val="E5F8FF"/>
            </a:solidFill>
            <a:effectLst/>
          </p:spPr>
          <p:txBody>
            <a:bodyPr vert="horz" wrap="square" lIns="90000" tIns="36000" rIns="90000" bIns="36000" numCol="1" rtlCol="0">
              <a:noAutofit/>
            </a:bodyPr>
            <a:lstStyle/>
            <a:p>
              <a:r>
                <a:rPr lang="en-GB" sz="1200">
                  <a:latin typeface="Segoe UI Semibold" panose="020B0502040204020203" pitchFamily="34" charset="0"/>
                </a:rPr>
                <a:t>Table</a:t>
              </a:r>
              <a:endParaRPr lang="en-GB" sz="900">
                <a:latin typeface="Segoe UI Semibold" panose="020B0502040204020203" pitchFamily="34" charset="0"/>
              </a:endParaRPr>
            </a:p>
            <a:p>
              <a:r>
                <a:rPr lang="en-GB" sz="900"/>
                <a:t>Add pre-styled tables or create your own branded table library</a:t>
              </a:r>
            </a:p>
          </p:txBody>
        </p:sp>
        <p:sp>
          <p:nvSpPr>
            <p:cNvPr id="135" name="Oval 134">
              <a:extLst>
                <a:ext uri="{FF2B5EF4-FFF2-40B4-BE49-F238E27FC236}">
                  <a16:creationId xmlns:a16="http://schemas.microsoft.com/office/drawing/2014/main" id="{194D21DD-43AA-4257-AD52-25CDEFFA36BE}"/>
                </a:ext>
              </a:extLst>
            </p:cNvPr>
            <p:cNvSpPr/>
            <p:nvPr>
              <p:custDataLst>
                <p:tags r:id="rId32"/>
              </p:custDataLst>
            </p:nvPr>
          </p:nvSpPr>
          <p:spPr>
            <a:xfrm>
              <a:off x="11546400" y="4170982"/>
              <a:ext cx="180000" cy="1800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800">
                  <a:solidFill>
                    <a:schemeClr val="bg1"/>
                  </a:solidFill>
                  <a:latin typeface="+mj-lt"/>
                </a:rPr>
                <a:t>9</a:t>
              </a:r>
            </a:p>
          </p:txBody>
        </p:sp>
      </p:grpSp>
      <p:grpSp>
        <p:nvGrpSpPr>
          <p:cNvPr id="4" name="Group 3">
            <a:extLst>
              <a:ext uri="{FF2B5EF4-FFF2-40B4-BE49-F238E27FC236}">
                <a16:creationId xmlns:a16="http://schemas.microsoft.com/office/drawing/2014/main" id="{A0E480C1-99F5-1601-B0B3-62323DD5592C}"/>
              </a:ext>
            </a:extLst>
          </p:cNvPr>
          <p:cNvGrpSpPr/>
          <p:nvPr/>
        </p:nvGrpSpPr>
        <p:grpSpPr>
          <a:xfrm>
            <a:off x="9659486" y="4725202"/>
            <a:ext cx="1980516" cy="672867"/>
            <a:chOff x="9745884" y="4905249"/>
            <a:chExt cx="1980516" cy="672867"/>
          </a:xfrm>
        </p:grpSpPr>
        <p:sp>
          <p:nvSpPr>
            <p:cNvPr id="91" name="TextBox 90">
              <a:extLst>
                <a:ext uri="{FF2B5EF4-FFF2-40B4-BE49-F238E27FC236}">
                  <a16:creationId xmlns:a16="http://schemas.microsoft.com/office/drawing/2014/main" id="{6346BDAE-C42D-44EC-B27A-FF83561E78D2}"/>
                </a:ext>
              </a:extLst>
            </p:cNvPr>
            <p:cNvSpPr txBox="1"/>
            <p:nvPr>
              <p:custDataLst>
                <p:tags r:id="rId29"/>
              </p:custDataLst>
            </p:nvPr>
          </p:nvSpPr>
          <p:spPr>
            <a:xfrm>
              <a:off x="9745884" y="4905249"/>
              <a:ext cx="1980516" cy="672867"/>
            </a:xfrm>
            <a:prstGeom prst="rect">
              <a:avLst/>
            </a:prstGeom>
            <a:solidFill>
              <a:srgbClr val="E5F8FF"/>
            </a:solidFill>
            <a:effectLst/>
          </p:spPr>
          <p:txBody>
            <a:bodyPr vert="horz" wrap="square" lIns="90000" tIns="36000" rIns="90000" bIns="36000" numCol="1" rtlCol="0">
              <a:noAutofit/>
            </a:bodyPr>
            <a:lstStyle/>
            <a:p>
              <a:r>
                <a:rPr lang="en-GB" sz="1200">
                  <a:latin typeface="Segoe UI Semibold" panose="020B0502040204020203" pitchFamily="34" charset="0"/>
                </a:rPr>
                <a:t>Images</a:t>
              </a:r>
              <a:endParaRPr lang="en-GB" sz="900">
                <a:latin typeface="Segoe UI Semibold" panose="020B0502040204020203" pitchFamily="34" charset="0"/>
              </a:endParaRPr>
            </a:p>
            <a:p>
              <a:r>
                <a:rPr lang="en-GB" sz="1000"/>
                <a:t>Add images from UnSplash image library or set up your own company collections</a:t>
              </a:r>
            </a:p>
          </p:txBody>
        </p:sp>
        <p:sp>
          <p:nvSpPr>
            <p:cNvPr id="137" name="Oval 136">
              <a:extLst>
                <a:ext uri="{FF2B5EF4-FFF2-40B4-BE49-F238E27FC236}">
                  <a16:creationId xmlns:a16="http://schemas.microsoft.com/office/drawing/2014/main" id="{B10742F0-D4CE-4476-8D20-A7B80548243D}"/>
                </a:ext>
              </a:extLst>
            </p:cNvPr>
            <p:cNvSpPr/>
            <p:nvPr>
              <p:custDataLst>
                <p:tags r:id="rId30"/>
              </p:custDataLst>
            </p:nvPr>
          </p:nvSpPr>
          <p:spPr>
            <a:xfrm>
              <a:off x="11546400" y="4905249"/>
              <a:ext cx="180000" cy="1800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486000"/>
              <a:r>
                <a:rPr lang="en-GB" sz="800">
                  <a:solidFill>
                    <a:schemeClr val="bg1"/>
                  </a:solidFill>
                  <a:latin typeface="+mj-lt"/>
                </a:rPr>
                <a:t>11</a:t>
              </a:r>
            </a:p>
          </p:txBody>
        </p:sp>
      </p:grpSp>
      <p:grpSp>
        <p:nvGrpSpPr>
          <p:cNvPr id="3" name="Group 2">
            <a:extLst>
              <a:ext uri="{FF2B5EF4-FFF2-40B4-BE49-F238E27FC236}">
                <a16:creationId xmlns:a16="http://schemas.microsoft.com/office/drawing/2014/main" id="{D417C20A-C396-C0B2-6CF7-CED61E1BCCFB}"/>
              </a:ext>
            </a:extLst>
          </p:cNvPr>
          <p:cNvGrpSpPr/>
          <p:nvPr/>
        </p:nvGrpSpPr>
        <p:grpSpPr>
          <a:xfrm>
            <a:off x="7928657" y="1867138"/>
            <a:ext cx="1677650" cy="3987340"/>
            <a:chOff x="7928657" y="2015808"/>
            <a:chExt cx="1677650" cy="3987340"/>
          </a:xfrm>
        </p:grpSpPr>
        <p:grpSp>
          <p:nvGrpSpPr>
            <p:cNvPr id="144" name="Group 143">
              <a:extLst>
                <a:ext uri="{FF2B5EF4-FFF2-40B4-BE49-F238E27FC236}">
                  <a16:creationId xmlns:a16="http://schemas.microsoft.com/office/drawing/2014/main" id="{DE8BD6D7-9BB1-4E8E-B2FE-FCECB1E9D3CE}"/>
                </a:ext>
              </a:extLst>
            </p:cNvPr>
            <p:cNvGrpSpPr/>
            <p:nvPr/>
          </p:nvGrpSpPr>
          <p:grpSpPr>
            <a:xfrm>
              <a:off x="7928657" y="2015808"/>
              <a:ext cx="1677650" cy="540000"/>
              <a:chOff x="7928657" y="1780581"/>
              <a:chExt cx="1677650" cy="540000"/>
            </a:xfrm>
          </p:grpSpPr>
          <p:sp>
            <p:nvSpPr>
              <p:cNvPr id="65" name="TextBox 64">
                <a:extLst>
                  <a:ext uri="{FF2B5EF4-FFF2-40B4-BE49-F238E27FC236}">
                    <a16:creationId xmlns:a16="http://schemas.microsoft.com/office/drawing/2014/main" id="{DC598A2C-82B6-4967-B91E-5D88D5255233}"/>
                  </a:ext>
                </a:extLst>
              </p:cNvPr>
              <p:cNvSpPr txBox="1"/>
              <p:nvPr/>
            </p:nvSpPr>
            <p:spPr>
              <a:xfrm>
                <a:off x="7928657" y="1780581"/>
                <a:ext cx="1677649" cy="540000"/>
              </a:xfrm>
              <a:prstGeom prst="rect">
                <a:avLst/>
              </a:prstGeom>
              <a:solidFill>
                <a:srgbClr val="E5F8FF"/>
              </a:solidFill>
              <a:effectLst/>
            </p:spPr>
            <p:txBody>
              <a:bodyPr vert="horz" wrap="square" lIns="90000" tIns="36000" rIns="90000" bIns="36000" numCol="1" rtlCol="0">
                <a:noAutofit/>
              </a:bodyPr>
              <a:lstStyle/>
              <a:p>
                <a:r>
                  <a:rPr lang="en-GB" sz="1400">
                    <a:latin typeface="Segoe UI Semibold" panose="020B0502040204020203" pitchFamily="34" charset="0"/>
                  </a:rPr>
                  <a:t>Masters</a:t>
                </a:r>
              </a:p>
              <a:p>
                <a:pPr defTabSz="486000">
                  <a:buClr>
                    <a:schemeClr val="accent1"/>
                  </a:buClr>
                </a:pPr>
                <a:r>
                  <a:rPr lang="en-GB" sz="900"/>
                  <a:t>Access template masters</a:t>
                </a:r>
              </a:p>
            </p:txBody>
          </p:sp>
          <p:sp>
            <p:nvSpPr>
              <p:cNvPr id="128" name="Oval 127">
                <a:extLst>
                  <a:ext uri="{FF2B5EF4-FFF2-40B4-BE49-F238E27FC236}">
                    <a16:creationId xmlns:a16="http://schemas.microsoft.com/office/drawing/2014/main" id="{F86A9171-A660-42C8-A0C0-152A2DB00F71}"/>
                  </a:ext>
                </a:extLst>
              </p:cNvPr>
              <p:cNvSpPr/>
              <p:nvPr/>
            </p:nvSpPr>
            <p:spPr>
              <a:xfrm>
                <a:off x="9426307" y="1780582"/>
                <a:ext cx="180000" cy="1800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800">
                    <a:solidFill>
                      <a:schemeClr val="bg1"/>
                    </a:solidFill>
                    <a:latin typeface="+mj-lt"/>
                  </a:rPr>
                  <a:t>2</a:t>
                </a:r>
              </a:p>
            </p:txBody>
          </p:sp>
        </p:grpSp>
        <p:grpSp>
          <p:nvGrpSpPr>
            <p:cNvPr id="146" name="Group 145">
              <a:extLst>
                <a:ext uri="{FF2B5EF4-FFF2-40B4-BE49-F238E27FC236}">
                  <a16:creationId xmlns:a16="http://schemas.microsoft.com/office/drawing/2014/main" id="{81A5C01A-9A66-4007-906E-2046953F3DA6}"/>
                </a:ext>
              </a:extLst>
            </p:cNvPr>
            <p:cNvGrpSpPr/>
            <p:nvPr/>
          </p:nvGrpSpPr>
          <p:grpSpPr>
            <a:xfrm>
              <a:off x="7928657" y="2627808"/>
              <a:ext cx="1677650" cy="672868"/>
              <a:chOff x="7928657" y="2351298"/>
              <a:chExt cx="1677650" cy="672867"/>
            </a:xfrm>
          </p:grpSpPr>
          <p:sp>
            <p:nvSpPr>
              <p:cNvPr id="67" name="TextBox 66">
                <a:extLst>
                  <a:ext uri="{FF2B5EF4-FFF2-40B4-BE49-F238E27FC236}">
                    <a16:creationId xmlns:a16="http://schemas.microsoft.com/office/drawing/2014/main" id="{24673F33-DCAC-4B95-B6CE-82A1C9A5C269}"/>
                  </a:ext>
                </a:extLst>
              </p:cNvPr>
              <p:cNvSpPr txBox="1"/>
              <p:nvPr/>
            </p:nvSpPr>
            <p:spPr>
              <a:xfrm>
                <a:off x="7928657" y="2351298"/>
                <a:ext cx="1677649" cy="672867"/>
              </a:xfrm>
              <a:prstGeom prst="rect">
                <a:avLst/>
              </a:prstGeom>
              <a:solidFill>
                <a:srgbClr val="E5F8FF"/>
              </a:solidFill>
              <a:effectLst/>
            </p:spPr>
            <p:txBody>
              <a:bodyPr vert="horz" wrap="square" lIns="90000" tIns="36000" rIns="90000" bIns="36000" numCol="1" rtlCol="0">
                <a:spAutoFit/>
              </a:bodyPr>
              <a:lstStyle/>
              <a:p>
                <a:r>
                  <a:rPr lang="en-GB" sz="1200">
                    <a:latin typeface="Segoe UI Semibold" panose="020B0502040204020203" pitchFamily="34" charset="0"/>
                  </a:rPr>
                  <a:t>Favourites</a:t>
                </a:r>
              </a:p>
              <a:p>
                <a:r>
                  <a:rPr lang="en-GB" sz="900"/>
                  <a:t>Add any folders, files or objects to your favourites folder </a:t>
                </a:r>
              </a:p>
            </p:txBody>
          </p:sp>
          <p:sp>
            <p:nvSpPr>
              <p:cNvPr id="130" name="Oval 129">
                <a:extLst>
                  <a:ext uri="{FF2B5EF4-FFF2-40B4-BE49-F238E27FC236}">
                    <a16:creationId xmlns:a16="http://schemas.microsoft.com/office/drawing/2014/main" id="{9B57657F-D5DA-41D4-835E-E1A8BB8E0F3E}"/>
                  </a:ext>
                </a:extLst>
              </p:cNvPr>
              <p:cNvSpPr/>
              <p:nvPr/>
            </p:nvSpPr>
            <p:spPr>
              <a:xfrm>
                <a:off x="9426307" y="2351298"/>
                <a:ext cx="180000" cy="1800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800">
                    <a:solidFill>
                      <a:schemeClr val="bg1"/>
                    </a:solidFill>
                    <a:latin typeface="+mj-lt"/>
                  </a:rPr>
                  <a:t>4</a:t>
                </a:r>
              </a:p>
            </p:txBody>
          </p:sp>
        </p:grpSp>
        <p:grpSp>
          <p:nvGrpSpPr>
            <p:cNvPr id="145" name="Group 144">
              <a:extLst>
                <a:ext uri="{FF2B5EF4-FFF2-40B4-BE49-F238E27FC236}">
                  <a16:creationId xmlns:a16="http://schemas.microsoft.com/office/drawing/2014/main" id="{65BF327B-9587-4A3D-8D40-4BE397CFEF94}"/>
                </a:ext>
              </a:extLst>
            </p:cNvPr>
            <p:cNvGrpSpPr/>
            <p:nvPr/>
          </p:nvGrpSpPr>
          <p:grpSpPr>
            <a:xfrm>
              <a:off x="7928657" y="3372676"/>
              <a:ext cx="1677650" cy="672868"/>
              <a:chOff x="7928657" y="3075902"/>
              <a:chExt cx="1677650" cy="672867"/>
            </a:xfrm>
          </p:grpSpPr>
          <p:sp>
            <p:nvSpPr>
              <p:cNvPr id="69" name="TextBox 68">
                <a:extLst>
                  <a:ext uri="{FF2B5EF4-FFF2-40B4-BE49-F238E27FC236}">
                    <a16:creationId xmlns:a16="http://schemas.microsoft.com/office/drawing/2014/main" id="{D3AD22A5-AED5-4D45-A6B8-F8C7794208D4}"/>
                  </a:ext>
                </a:extLst>
              </p:cNvPr>
              <p:cNvSpPr txBox="1"/>
              <p:nvPr/>
            </p:nvSpPr>
            <p:spPr>
              <a:xfrm>
                <a:off x="7928657" y="3075902"/>
                <a:ext cx="1677649" cy="672867"/>
              </a:xfrm>
              <a:prstGeom prst="rect">
                <a:avLst/>
              </a:prstGeom>
              <a:solidFill>
                <a:srgbClr val="E5F8FF"/>
              </a:solidFill>
              <a:effectLst/>
            </p:spPr>
            <p:txBody>
              <a:bodyPr vert="horz" wrap="square" lIns="90000" tIns="36000" rIns="90000" bIns="36000" numCol="1" rtlCol="0">
                <a:spAutoFit/>
              </a:bodyPr>
              <a:lstStyle/>
              <a:p>
                <a:r>
                  <a:rPr lang="en-GB" sz="1200">
                    <a:latin typeface="Segoe UI Semibold" panose="020B0502040204020203" pitchFamily="34" charset="0"/>
                  </a:rPr>
                  <a:t>Slides</a:t>
                </a:r>
                <a:endParaRPr lang="en-GB" sz="900">
                  <a:latin typeface="Segoe UI Semibold" panose="020B0502040204020203" pitchFamily="34" charset="0"/>
                </a:endParaRPr>
              </a:p>
              <a:p>
                <a:r>
                  <a:rPr lang="en-GB" sz="900"/>
                  <a:t>Add useful page layouts &amp; new ideas for commonly used pages</a:t>
                </a:r>
              </a:p>
            </p:txBody>
          </p:sp>
          <p:sp>
            <p:nvSpPr>
              <p:cNvPr id="132" name="Oval 131">
                <a:extLst>
                  <a:ext uri="{FF2B5EF4-FFF2-40B4-BE49-F238E27FC236}">
                    <a16:creationId xmlns:a16="http://schemas.microsoft.com/office/drawing/2014/main" id="{57CEA735-4CCA-497E-958B-9556132D6A6B}"/>
                  </a:ext>
                </a:extLst>
              </p:cNvPr>
              <p:cNvSpPr/>
              <p:nvPr/>
            </p:nvSpPr>
            <p:spPr>
              <a:xfrm>
                <a:off x="9426307" y="3075902"/>
                <a:ext cx="180000" cy="1800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800">
                    <a:solidFill>
                      <a:schemeClr val="bg1"/>
                    </a:solidFill>
                    <a:latin typeface="+mj-lt"/>
                  </a:rPr>
                  <a:t>6</a:t>
                </a:r>
              </a:p>
            </p:txBody>
          </p:sp>
        </p:grpSp>
        <p:grpSp>
          <p:nvGrpSpPr>
            <p:cNvPr id="143" name="Group 142">
              <a:extLst>
                <a:ext uri="{FF2B5EF4-FFF2-40B4-BE49-F238E27FC236}">
                  <a16:creationId xmlns:a16="http://schemas.microsoft.com/office/drawing/2014/main" id="{FE831410-7727-4132-ADED-716C96E70EEA}"/>
                </a:ext>
              </a:extLst>
            </p:cNvPr>
            <p:cNvGrpSpPr/>
            <p:nvPr/>
          </p:nvGrpSpPr>
          <p:grpSpPr>
            <a:xfrm>
              <a:off x="7928657" y="4117543"/>
              <a:ext cx="1677650" cy="672868"/>
              <a:chOff x="7928657" y="3800506"/>
              <a:chExt cx="1677650" cy="672867"/>
            </a:xfrm>
          </p:grpSpPr>
          <p:sp>
            <p:nvSpPr>
              <p:cNvPr id="88" name="TextBox 87">
                <a:extLst>
                  <a:ext uri="{FF2B5EF4-FFF2-40B4-BE49-F238E27FC236}">
                    <a16:creationId xmlns:a16="http://schemas.microsoft.com/office/drawing/2014/main" id="{4C2C006D-0742-4181-895C-B121A5658488}"/>
                  </a:ext>
                </a:extLst>
              </p:cNvPr>
              <p:cNvSpPr txBox="1"/>
              <p:nvPr/>
            </p:nvSpPr>
            <p:spPr>
              <a:xfrm>
                <a:off x="7928657" y="3800506"/>
                <a:ext cx="1677649" cy="672867"/>
              </a:xfrm>
              <a:prstGeom prst="rect">
                <a:avLst/>
              </a:prstGeom>
              <a:solidFill>
                <a:srgbClr val="E5F8FF"/>
              </a:solidFill>
              <a:effectLst/>
            </p:spPr>
            <p:txBody>
              <a:bodyPr vert="horz" wrap="square" lIns="90000" tIns="36000" rIns="90000" bIns="36000" numCol="1" rtlCol="0">
                <a:spAutoFit/>
              </a:bodyPr>
              <a:lstStyle/>
              <a:p>
                <a:r>
                  <a:rPr lang="en-GB" sz="1200">
                    <a:latin typeface="Segoe UI Semibold" panose="020B0502040204020203" pitchFamily="34" charset="0"/>
                  </a:rPr>
                  <a:t>Chart</a:t>
                </a:r>
                <a:endParaRPr lang="en-GB" sz="900">
                  <a:latin typeface="Segoe UI Semibold" panose="020B0502040204020203" pitchFamily="34" charset="0"/>
                </a:endParaRPr>
              </a:p>
              <a:p>
                <a:r>
                  <a:rPr lang="en-GB" sz="900"/>
                  <a:t>Add pre-styled charts or create your own branded chart library</a:t>
                </a:r>
              </a:p>
            </p:txBody>
          </p:sp>
          <p:sp>
            <p:nvSpPr>
              <p:cNvPr id="134" name="Oval 133">
                <a:extLst>
                  <a:ext uri="{FF2B5EF4-FFF2-40B4-BE49-F238E27FC236}">
                    <a16:creationId xmlns:a16="http://schemas.microsoft.com/office/drawing/2014/main" id="{B41B16F0-C083-4E02-92D6-8AAB30B15FCC}"/>
                  </a:ext>
                </a:extLst>
              </p:cNvPr>
              <p:cNvSpPr/>
              <p:nvPr/>
            </p:nvSpPr>
            <p:spPr>
              <a:xfrm>
                <a:off x="9426307" y="3800506"/>
                <a:ext cx="180000" cy="1800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800">
                    <a:solidFill>
                      <a:schemeClr val="bg1"/>
                    </a:solidFill>
                    <a:latin typeface="+mj-lt"/>
                  </a:rPr>
                  <a:t>8</a:t>
                </a:r>
              </a:p>
            </p:txBody>
          </p:sp>
        </p:grpSp>
        <p:grpSp>
          <p:nvGrpSpPr>
            <p:cNvPr id="142" name="Group 141">
              <a:extLst>
                <a:ext uri="{FF2B5EF4-FFF2-40B4-BE49-F238E27FC236}">
                  <a16:creationId xmlns:a16="http://schemas.microsoft.com/office/drawing/2014/main" id="{50F21404-69A5-42DC-A740-304F895E5137}"/>
                </a:ext>
              </a:extLst>
            </p:cNvPr>
            <p:cNvGrpSpPr/>
            <p:nvPr/>
          </p:nvGrpSpPr>
          <p:grpSpPr>
            <a:xfrm>
              <a:off x="7928657" y="4862411"/>
              <a:ext cx="1677650" cy="395869"/>
              <a:chOff x="7928657" y="4525109"/>
              <a:chExt cx="1677650" cy="395869"/>
            </a:xfrm>
          </p:grpSpPr>
          <p:sp>
            <p:nvSpPr>
              <p:cNvPr id="90" name="TextBox 89">
                <a:extLst>
                  <a:ext uri="{FF2B5EF4-FFF2-40B4-BE49-F238E27FC236}">
                    <a16:creationId xmlns:a16="http://schemas.microsoft.com/office/drawing/2014/main" id="{536E3259-3F59-4754-9206-E0E345BF1321}"/>
                  </a:ext>
                </a:extLst>
              </p:cNvPr>
              <p:cNvSpPr txBox="1"/>
              <p:nvPr/>
            </p:nvSpPr>
            <p:spPr>
              <a:xfrm>
                <a:off x="7928657" y="4525109"/>
                <a:ext cx="1677649" cy="395869"/>
              </a:xfrm>
              <a:prstGeom prst="rect">
                <a:avLst/>
              </a:prstGeom>
              <a:solidFill>
                <a:srgbClr val="E5F8FF"/>
              </a:solidFill>
              <a:effectLst/>
            </p:spPr>
            <p:txBody>
              <a:bodyPr vert="horz" wrap="square" lIns="90000" tIns="36000" rIns="90000" bIns="36000" numCol="1" rtlCol="0">
                <a:spAutoFit/>
              </a:bodyPr>
              <a:lstStyle/>
              <a:p>
                <a:r>
                  <a:rPr lang="en-GB" sz="1200">
                    <a:latin typeface="Segoe UI Semibold" panose="020B0502040204020203" pitchFamily="34" charset="0"/>
                  </a:rPr>
                  <a:t>Icons</a:t>
                </a:r>
                <a:endParaRPr lang="en-GB" sz="900">
                  <a:latin typeface="Segoe UI Semibold" panose="020B0502040204020203" pitchFamily="34" charset="0"/>
                </a:endParaRPr>
              </a:p>
              <a:p>
                <a:r>
                  <a:rPr lang="en-GB" sz="900"/>
                  <a:t>Add editable icons</a:t>
                </a:r>
              </a:p>
            </p:txBody>
          </p:sp>
          <p:sp>
            <p:nvSpPr>
              <p:cNvPr id="136" name="Oval 135">
                <a:extLst>
                  <a:ext uri="{FF2B5EF4-FFF2-40B4-BE49-F238E27FC236}">
                    <a16:creationId xmlns:a16="http://schemas.microsoft.com/office/drawing/2014/main" id="{B0A6D799-77BC-486C-BA5A-53FDC4C7E92D}"/>
                  </a:ext>
                </a:extLst>
              </p:cNvPr>
              <p:cNvSpPr/>
              <p:nvPr/>
            </p:nvSpPr>
            <p:spPr>
              <a:xfrm>
                <a:off x="9426307" y="4525110"/>
                <a:ext cx="180000" cy="1800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486000"/>
                <a:r>
                  <a:rPr lang="en-GB" sz="800">
                    <a:solidFill>
                      <a:schemeClr val="bg1"/>
                    </a:solidFill>
                    <a:latin typeface="+mj-lt"/>
                  </a:rPr>
                  <a:t>10</a:t>
                </a:r>
              </a:p>
            </p:txBody>
          </p:sp>
        </p:grpSp>
        <p:grpSp>
          <p:nvGrpSpPr>
            <p:cNvPr id="141" name="Group 140">
              <a:extLst>
                <a:ext uri="{FF2B5EF4-FFF2-40B4-BE49-F238E27FC236}">
                  <a16:creationId xmlns:a16="http://schemas.microsoft.com/office/drawing/2014/main" id="{3ADE469D-7C71-482C-93CF-5D4B4502912E}"/>
                </a:ext>
              </a:extLst>
            </p:cNvPr>
            <p:cNvGrpSpPr/>
            <p:nvPr/>
          </p:nvGrpSpPr>
          <p:grpSpPr>
            <a:xfrm>
              <a:off x="7928657" y="5330280"/>
              <a:ext cx="1677650" cy="672868"/>
              <a:chOff x="7928657" y="5095827"/>
              <a:chExt cx="1677650" cy="672867"/>
            </a:xfrm>
          </p:grpSpPr>
          <p:sp>
            <p:nvSpPr>
              <p:cNvPr id="92" name="TextBox 91">
                <a:extLst>
                  <a:ext uri="{FF2B5EF4-FFF2-40B4-BE49-F238E27FC236}">
                    <a16:creationId xmlns:a16="http://schemas.microsoft.com/office/drawing/2014/main" id="{0C726D91-69DF-4BCD-A82F-1F55ED56D8B7}"/>
                  </a:ext>
                </a:extLst>
              </p:cNvPr>
              <p:cNvSpPr txBox="1"/>
              <p:nvPr/>
            </p:nvSpPr>
            <p:spPr>
              <a:xfrm>
                <a:off x="7928657" y="5095827"/>
                <a:ext cx="1677649" cy="672867"/>
              </a:xfrm>
              <a:prstGeom prst="rect">
                <a:avLst/>
              </a:prstGeom>
              <a:solidFill>
                <a:srgbClr val="E5F8FF"/>
              </a:solidFill>
              <a:effectLst/>
            </p:spPr>
            <p:txBody>
              <a:bodyPr vert="horz" wrap="square" lIns="90000" tIns="36000" rIns="90000" bIns="36000" numCol="1" rtlCol="0">
                <a:spAutoFit/>
              </a:bodyPr>
              <a:lstStyle/>
              <a:p>
                <a:r>
                  <a:rPr lang="en-GB" sz="1200">
                    <a:latin typeface="Segoe UI Semibold" panose="020B0502040204020203" pitchFamily="34" charset="0"/>
                  </a:rPr>
                  <a:t>Design check</a:t>
                </a:r>
                <a:endParaRPr lang="en-GB" sz="900">
                  <a:latin typeface="Segoe UI Semibold" panose="020B0502040204020203" pitchFamily="34" charset="0"/>
                </a:endParaRPr>
              </a:p>
              <a:p>
                <a:r>
                  <a:rPr lang="en-GB" sz="900"/>
                  <a:t>Check that your file conforms to your company style guidelines</a:t>
                </a:r>
              </a:p>
            </p:txBody>
          </p:sp>
          <p:sp>
            <p:nvSpPr>
              <p:cNvPr id="138" name="Oval 137">
                <a:extLst>
                  <a:ext uri="{FF2B5EF4-FFF2-40B4-BE49-F238E27FC236}">
                    <a16:creationId xmlns:a16="http://schemas.microsoft.com/office/drawing/2014/main" id="{EDBC9949-24B1-418D-A113-334964D8CFAD}"/>
                  </a:ext>
                </a:extLst>
              </p:cNvPr>
              <p:cNvSpPr/>
              <p:nvPr/>
            </p:nvSpPr>
            <p:spPr>
              <a:xfrm>
                <a:off x="9426307" y="5095827"/>
                <a:ext cx="180000" cy="1800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486000"/>
                <a:r>
                  <a:rPr lang="en-GB" sz="800">
                    <a:solidFill>
                      <a:schemeClr val="bg1"/>
                    </a:solidFill>
                    <a:latin typeface="+mj-lt"/>
                  </a:rPr>
                  <a:t>12</a:t>
                </a:r>
              </a:p>
            </p:txBody>
          </p:sp>
        </p:grpSp>
      </p:grpSp>
      <p:grpSp>
        <p:nvGrpSpPr>
          <p:cNvPr id="140" name="Group 139">
            <a:extLst>
              <a:ext uri="{FF2B5EF4-FFF2-40B4-BE49-F238E27FC236}">
                <a16:creationId xmlns:a16="http://schemas.microsoft.com/office/drawing/2014/main" id="{8CF171A8-4F00-4A53-B17C-CB0240ADA641}"/>
              </a:ext>
            </a:extLst>
          </p:cNvPr>
          <p:cNvGrpSpPr/>
          <p:nvPr/>
        </p:nvGrpSpPr>
        <p:grpSpPr>
          <a:xfrm>
            <a:off x="9659486" y="5480808"/>
            <a:ext cx="1980516" cy="503590"/>
            <a:chOff x="9745882" y="5793406"/>
            <a:chExt cx="1980516" cy="503590"/>
          </a:xfrm>
        </p:grpSpPr>
        <p:sp>
          <p:nvSpPr>
            <p:cNvPr id="93" name="TextBox 92">
              <a:extLst>
                <a:ext uri="{FF2B5EF4-FFF2-40B4-BE49-F238E27FC236}">
                  <a16:creationId xmlns:a16="http://schemas.microsoft.com/office/drawing/2014/main" id="{56B154B7-A6E8-4515-87C9-3AF0E16BB08B}"/>
                </a:ext>
              </a:extLst>
            </p:cNvPr>
            <p:cNvSpPr txBox="1"/>
            <p:nvPr/>
          </p:nvSpPr>
          <p:spPr>
            <a:xfrm>
              <a:off x="9745882" y="5793406"/>
              <a:ext cx="1980515" cy="503590"/>
            </a:xfrm>
            <a:prstGeom prst="rect">
              <a:avLst/>
            </a:prstGeom>
            <a:solidFill>
              <a:srgbClr val="E5F8FF"/>
            </a:solidFill>
            <a:effectLst/>
          </p:spPr>
          <p:txBody>
            <a:bodyPr vert="horz" wrap="square" lIns="90000" tIns="36000" rIns="90000" bIns="36000" numCol="1" rtlCol="0">
              <a:noAutofit/>
            </a:bodyPr>
            <a:lstStyle/>
            <a:p>
              <a:r>
                <a:rPr lang="en-GB" sz="1200">
                  <a:latin typeface="Segoe UI Semibold" panose="020B0502040204020203" pitchFamily="34" charset="0"/>
                </a:rPr>
                <a:t>Layout tools</a:t>
              </a:r>
              <a:endParaRPr lang="en-GB" sz="900">
                <a:latin typeface="Segoe UI Semibold" panose="020B0502040204020203" pitchFamily="34" charset="0"/>
              </a:endParaRPr>
            </a:p>
            <a:p>
              <a:r>
                <a:rPr lang="en-GB" sz="900"/>
                <a:t>Access all the handy formatting, positioning and layout tools</a:t>
              </a:r>
            </a:p>
          </p:txBody>
        </p:sp>
        <p:sp>
          <p:nvSpPr>
            <p:cNvPr id="139" name="Oval 138">
              <a:extLst>
                <a:ext uri="{FF2B5EF4-FFF2-40B4-BE49-F238E27FC236}">
                  <a16:creationId xmlns:a16="http://schemas.microsoft.com/office/drawing/2014/main" id="{623D732F-9130-49A3-B78C-FB5A7F98E0EE}"/>
                </a:ext>
              </a:extLst>
            </p:cNvPr>
            <p:cNvSpPr/>
            <p:nvPr/>
          </p:nvSpPr>
          <p:spPr>
            <a:xfrm>
              <a:off x="11546398" y="5793406"/>
              <a:ext cx="180000" cy="1800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486000"/>
              <a:r>
                <a:rPr lang="en-GB" sz="800">
                  <a:solidFill>
                    <a:schemeClr val="bg1"/>
                  </a:solidFill>
                  <a:latin typeface="+mj-lt"/>
                </a:rPr>
                <a:t>13</a:t>
              </a:r>
            </a:p>
          </p:txBody>
        </p:sp>
      </p:grpSp>
      <p:grpSp>
        <p:nvGrpSpPr>
          <p:cNvPr id="11" name="Group 10">
            <a:extLst>
              <a:ext uri="{FF2B5EF4-FFF2-40B4-BE49-F238E27FC236}">
                <a16:creationId xmlns:a16="http://schemas.microsoft.com/office/drawing/2014/main" id="{CA09F8B3-642E-D755-0177-9BA1F381EB59}"/>
              </a:ext>
            </a:extLst>
          </p:cNvPr>
          <p:cNvGrpSpPr>
            <a:grpSpLocks noChangeAspect="1"/>
          </p:cNvGrpSpPr>
          <p:nvPr/>
        </p:nvGrpSpPr>
        <p:grpSpPr>
          <a:xfrm>
            <a:off x="5634745" y="1700808"/>
            <a:ext cx="1806714" cy="4319999"/>
            <a:chOff x="5481793" y="1376363"/>
            <a:chExt cx="2112617" cy="5051438"/>
          </a:xfrm>
        </p:grpSpPr>
        <p:grpSp>
          <p:nvGrpSpPr>
            <p:cNvPr id="57" name="Group 56">
              <a:extLst>
                <a:ext uri="{FF2B5EF4-FFF2-40B4-BE49-F238E27FC236}">
                  <a16:creationId xmlns:a16="http://schemas.microsoft.com/office/drawing/2014/main" id="{3C0630D0-A8AD-492D-B259-B04F9563DF25}"/>
                </a:ext>
              </a:extLst>
            </p:cNvPr>
            <p:cNvGrpSpPr/>
            <p:nvPr/>
          </p:nvGrpSpPr>
          <p:grpSpPr>
            <a:xfrm>
              <a:off x="5481795" y="1376363"/>
              <a:ext cx="2001300" cy="5051436"/>
              <a:chOff x="5748528" y="1387800"/>
              <a:chExt cx="2640706" cy="6665343"/>
            </a:xfrm>
            <a:effectLst>
              <a:outerShdw blurRad="50800" dist="38100" dir="2700000" algn="tl" rotWithShape="0">
                <a:prstClr val="black">
                  <a:alpha val="40000"/>
                </a:prstClr>
              </a:outerShdw>
            </a:effectLst>
          </p:grpSpPr>
          <p:pic>
            <p:nvPicPr>
              <p:cNvPr id="46" name="Picture 45">
                <a:extLst>
                  <a:ext uri="{FF2B5EF4-FFF2-40B4-BE49-F238E27FC236}">
                    <a16:creationId xmlns:a16="http://schemas.microsoft.com/office/drawing/2014/main" id="{D011A30C-CBAC-4722-8E27-BACFE6558834}"/>
                  </a:ext>
                </a:extLst>
              </p:cNvPr>
              <p:cNvPicPr>
                <a:picLocks noChangeAspect="1"/>
              </p:cNvPicPr>
              <p:nvPr/>
            </p:nvPicPr>
            <p:blipFill>
              <a:blip r:embed="rId43" cstate="screen">
                <a:extLst>
                  <a:ext uri="{28A0092B-C50C-407E-A947-70E740481C1C}">
                    <a14:useLocalDpi xmlns:a14="http://schemas.microsoft.com/office/drawing/2010/main"/>
                  </a:ext>
                </a:extLst>
              </a:blip>
              <a:stretch>
                <a:fillRect/>
              </a:stretch>
            </p:blipFill>
            <p:spPr>
              <a:xfrm>
                <a:off x="5748528" y="5028955"/>
                <a:ext cx="2640706" cy="3024188"/>
              </a:xfrm>
              <a:prstGeom prst="rect">
                <a:avLst/>
              </a:prstGeom>
            </p:spPr>
          </p:pic>
          <p:pic>
            <p:nvPicPr>
              <p:cNvPr id="49" name="Picture 48">
                <a:extLst>
                  <a:ext uri="{FF2B5EF4-FFF2-40B4-BE49-F238E27FC236}">
                    <a16:creationId xmlns:a16="http://schemas.microsoft.com/office/drawing/2014/main" id="{1F2DC298-7D10-4F40-9B39-1EC1D183F786}"/>
                  </a:ext>
                </a:extLst>
              </p:cNvPr>
              <p:cNvPicPr>
                <a:picLocks noChangeAspect="1"/>
              </p:cNvPicPr>
              <p:nvPr/>
            </p:nvPicPr>
            <p:blipFill>
              <a:blip r:embed="rId44" cstate="screen">
                <a:extLst>
                  <a:ext uri="{28A0092B-C50C-407E-A947-70E740481C1C}">
                    <a14:useLocalDpi xmlns:a14="http://schemas.microsoft.com/office/drawing/2010/main"/>
                  </a:ext>
                </a:extLst>
              </a:blip>
              <a:stretch>
                <a:fillRect/>
              </a:stretch>
            </p:blipFill>
            <p:spPr>
              <a:xfrm>
                <a:off x="5748528" y="1387800"/>
                <a:ext cx="2640706" cy="4372920"/>
              </a:xfrm>
              <a:prstGeom prst="rect">
                <a:avLst/>
              </a:prstGeom>
            </p:spPr>
          </p:pic>
          <p:pic>
            <p:nvPicPr>
              <p:cNvPr id="50" name="Picture 49">
                <a:extLst>
                  <a:ext uri="{FF2B5EF4-FFF2-40B4-BE49-F238E27FC236}">
                    <a16:creationId xmlns:a16="http://schemas.microsoft.com/office/drawing/2014/main" id="{C1BA1305-A5FC-4115-935F-C62AAEAED314}"/>
                  </a:ext>
                </a:extLst>
              </p:cNvPr>
              <p:cNvPicPr>
                <a:picLocks noChangeAspect="1"/>
              </p:cNvPicPr>
              <p:nvPr/>
            </p:nvPicPr>
            <p:blipFill>
              <a:blip r:embed="rId45" cstate="screen">
                <a:extLst>
                  <a:ext uri="{28A0092B-C50C-407E-A947-70E740481C1C}">
                    <a14:useLocalDpi xmlns:a14="http://schemas.microsoft.com/office/drawing/2010/main"/>
                  </a:ext>
                </a:extLst>
              </a:blip>
              <a:srcRect r="10670"/>
              <a:stretch>
                <a:fillRect/>
              </a:stretch>
            </p:blipFill>
            <p:spPr>
              <a:xfrm>
                <a:off x="7877216" y="5713476"/>
                <a:ext cx="512018" cy="312420"/>
              </a:xfrm>
              <a:prstGeom prst="rect">
                <a:avLst/>
              </a:prstGeom>
            </p:spPr>
          </p:pic>
          <p:pic>
            <p:nvPicPr>
              <p:cNvPr id="58" name="Picture 57">
                <a:extLst>
                  <a:ext uri="{FF2B5EF4-FFF2-40B4-BE49-F238E27FC236}">
                    <a16:creationId xmlns:a16="http://schemas.microsoft.com/office/drawing/2014/main" id="{586308D3-3EE3-4009-A6B6-BB5DFA27DFE5}"/>
                  </a:ext>
                </a:extLst>
              </p:cNvPr>
              <p:cNvPicPr>
                <a:picLocks noChangeAspect="1"/>
              </p:cNvPicPr>
              <p:nvPr/>
            </p:nvPicPr>
            <p:blipFill>
              <a:blip r:embed="rId45" cstate="screen">
                <a:extLst>
                  <a:ext uri="{28A0092B-C50C-407E-A947-70E740481C1C}">
                    <a14:useLocalDpi xmlns:a14="http://schemas.microsoft.com/office/drawing/2010/main"/>
                  </a:ext>
                </a:extLst>
              </a:blip>
              <a:srcRect r="10670"/>
              <a:stretch>
                <a:fillRect/>
              </a:stretch>
            </p:blipFill>
            <p:spPr>
              <a:xfrm>
                <a:off x="7877216" y="5979056"/>
                <a:ext cx="512018" cy="312420"/>
              </a:xfrm>
              <a:prstGeom prst="rect">
                <a:avLst/>
              </a:prstGeom>
            </p:spPr>
          </p:pic>
          <p:pic>
            <p:nvPicPr>
              <p:cNvPr id="59" name="Picture 58">
                <a:extLst>
                  <a:ext uri="{FF2B5EF4-FFF2-40B4-BE49-F238E27FC236}">
                    <a16:creationId xmlns:a16="http://schemas.microsoft.com/office/drawing/2014/main" id="{C56F41FC-5283-4288-ADAB-C35BBC40A9C8}"/>
                  </a:ext>
                </a:extLst>
              </p:cNvPr>
              <p:cNvPicPr>
                <a:picLocks noChangeAspect="1"/>
              </p:cNvPicPr>
              <p:nvPr/>
            </p:nvPicPr>
            <p:blipFill>
              <a:blip r:embed="rId45" cstate="screen">
                <a:extLst>
                  <a:ext uri="{28A0092B-C50C-407E-A947-70E740481C1C}">
                    <a14:useLocalDpi xmlns:a14="http://schemas.microsoft.com/office/drawing/2010/main"/>
                  </a:ext>
                </a:extLst>
              </a:blip>
              <a:srcRect r="10670"/>
              <a:stretch>
                <a:fillRect/>
              </a:stretch>
            </p:blipFill>
            <p:spPr>
              <a:xfrm>
                <a:off x="7877216" y="6289031"/>
                <a:ext cx="512018" cy="312420"/>
              </a:xfrm>
              <a:prstGeom prst="rect">
                <a:avLst/>
              </a:prstGeom>
            </p:spPr>
          </p:pic>
          <p:pic>
            <p:nvPicPr>
              <p:cNvPr id="60" name="Picture 59">
                <a:extLst>
                  <a:ext uri="{FF2B5EF4-FFF2-40B4-BE49-F238E27FC236}">
                    <a16:creationId xmlns:a16="http://schemas.microsoft.com/office/drawing/2014/main" id="{06DAC80B-DD8A-4F2B-936E-C7867EEEFA39}"/>
                  </a:ext>
                </a:extLst>
              </p:cNvPr>
              <p:cNvPicPr>
                <a:picLocks noChangeAspect="1"/>
              </p:cNvPicPr>
              <p:nvPr/>
            </p:nvPicPr>
            <p:blipFill>
              <a:blip r:embed="rId45" cstate="screen">
                <a:extLst>
                  <a:ext uri="{28A0092B-C50C-407E-A947-70E740481C1C}">
                    <a14:useLocalDpi xmlns:a14="http://schemas.microsoft.com/office/drawing/2010/main"/>
                  </a:ext>
                </a:extLst>
              </a:blip>
              <a:srcRect r="10670"/>
              <a:stretch>
                <a:fillRect/>
              </a:stretch>
            </p:blipFill>
            <p:spPr>
              <a:xfrm>
                <a:off x="7877216" y="6562118"/>
                <a:ext cx="512018" cy="312420"/>
              </a:xfrm>
              <a:prstGeom prst="rect">
                <a:avLst/>
              </a:prstGeom>
            </p:spPr>
          </p:pic>
          <p:pic>
            <p:nvPicPr>
              <p:cNvPr id="61" name="Picture 60">
                <a:extLst>
                  <a:ext uri="{FF2B5EF4-FFF2-40B4-BE49-F238E27FC236}">
                    <a16:creationId xmlns:a16="http://schemas.microsoft.com/office/drawing/2014/main" id="{5EEF4442-D064-49EE-A22A-A263008D15F4}"/>
                  </a:ext>
                </a:extLst>
              </p:cNvPr>
              <p:cNvPicPr>
                <a:picLocks noChangeAspect="1"/>
              </p:cNvPicPr>
              <p:nvPr/>
            </p:nvPicPr>
            <p:blipFill>
              <a:blip r:embed="rId45" cstate="screen">
                <a:extLst>
                  <a:ext uri="{28A0092B-C50C-407E-A947-70E740481C1C}">
                    <a14:useLocalDpi xmlns:a14="http://schemas.microsoft.com/office/drawing/2010/main"/>
                  </a:ext>
                </a:extLst>
              </a:blip>
              <a:srcRect r="10670"/>
              <a:stretch>
                <a:fillRect/>
              </a:stretch>
            </p:blipFill>
            <p:spPr>
              <a:xfrm>
                <a:off x="7877216" y="6840869"/>
                <a:ext cx="512018" cy="312420"/>
              </a:xfrm>
              <a:prstGeom prst="rect">
                <a:avLst/>
              </a:prstGeom>
            </p:spPr>
          </p:pic>
          <p:pic>
            <p:nvPicPr>
              <p:cNvPr id="62" name="Picture 61">
                <a:extLst>
                  <a:ext uri="{FF2B5EF4-FFF2-40B4-BE49-F238E27FC236}">
                    <a16:creationId xmlns:a16="http://schemas.microsoft.com/office/drawing/2014/main" id="{12514589-D314-4A44-A4F4-2F1F41ABEB4B}"/>
                  </a:ext>
                </a:extLst>
              </p:cNvPr>
              <p:cNvPicPr>
                <a:picLocks noChangeAspect="1"/>
              </p:cNvPicPr>
              <p:nvPr/>
            </p:nvPicPr>
            <p:blipFill>
              <a:blip r:embed="rId45" cstate="screen">
                <a:extLst>
                  <a:ext uri="{28A0092B-C50C-407E-A947-70E740481C1C}">
                    <a14:useLocalDpi xmlns:a14="http://schemas.microsoft.com/office/drawing/2010/main"/>
                  </a:ext>
                </a:extLst>
              </a:blip>
              <a:srcRect r="10670"/>
              <a:stretch>
                <a:fillRect/>
              </a:stretch>
            </p:blipFill>
            <p:spPr>
              <a:xfrm>
                <a:off x="7877216" y="7151420"/>
                <a:ext cx="512018" cy="312420"/>
              </a:xfrm>
              <a:prstGeom prst="rect">
                <a:avLst/>
              </a:prstGeom>
            </p:spPr>
          </p:pic>
          <p:pic>
            <p:nvPicPr>
              <p:cNvPr id="63" name="Picture 62">
                <a:extLst>
                  <a:ext uri="{FF2B5EF4-FFF2-40B4-BE49-F238E27FC236}">
                    <a16:creationId xmlns:a16="http://schemas.microsoft.com/office/drawing/2014/main" id="{5F2340CE-922B-4CE5-B9F0-7CF5AC6A513B}"/>
                  </a:ext>
                </a:extLst>
              </p:cNvPr>
              <p:cNvPicPr>
                <a:picLocks noChangeAspect="1"/>
              </p:cNvPicPr>
              <p:nvPr/>
            </p:nvPicPr>
            <p:blipFill>
              <a:blip r:embed="rId45" cstate="screen">
                <a:extLst>
                  <a:ext uri="{28A0092B-C50C-407E-A947-70E740481C1C}">
                    <a14:useLocalDpi xmlns:a14="http://schemas.microsoft.com/office/drawing/2010/main"/>
                  </a:ext>
                </a:extLst>
              </a:blip>
              <a:srcRect r="10670"/>
              <a:stretch>
                <a:fillRect/>
              </a:stretch>
            </p:blipFill>
            <p:spPr>
              <a:xfrm>
                <a:off x="7877216" y="7461646"/>
                <a:ext cx="512018" cy="312420"/>
              </a:xfrm>
              <a:prstGeom prst="rect">
                <a:avLst/>
              </a:prstGeom>
            </p:spPr>
          </p:pic>
        </p:grpSp>
        <p:grpSp>
          <p:nvGrpSpPr>
            <p:cNvPr id="10" name="Group 9">
              <a:extLst>
                <a:ext uri="{FF2B5EF4-FFF2-40B4-BE49-F238E27FC236}">
                  <a16:creationId xmlns:a16="http://schemas.microsoft.com/office/drawing/2014/main" id="{7B1F0A0D-891C-FE45-77D0-38A8FEC680BF}"/>
                </a:ext>
              </a:extLst>
            </p:cNvPr>
            <p:cNvGrpSpPr>
              <a:grpSpLocks noChangeAspect="1"/>
            </p:cNvGrpSpPr>
            <p:nvPr/>
          </p:nvGrpSpPr>
          <p:grpSpPr>
            <a:xfrm>
              <a:off x="5481793" y="1376363"/>
              <a:ext cx="2112617" cy="5051438"/>
              <a:chOff x="5481793" y="1376363"/>
              <a:chExt cx="2112617" cy="5051438"/>
            </a:xfrm>
          </p:grpSpPr>
          <p:sp>
            <p:nvSpPr>
              <p:cNvPr id="75" name="Rectangle 74">
                <a:extLst>
                  <a:ext uri="{FF2B5EF4-FFF2-40B4-BE49-F238E27FC236}">
                    <a16:creationId xmlns:a16="http://schemas.microsoft.com/office/drawing/2014/main" id="{870675D7-08C1-41D1-ABA2-DF5BFBD06CBB}"/>
                  </a:ext>
                </a:extLst>
              </p:cNvPr>
              <p:cNvSpPr/>
              <p:nvPr>
                <p:custDataLst>
                  <p:tags r:id="rId2"/>
                </p:custDataLst>
              </p:nvPr>
            </p:nvSpPr>
            <p:spPr>
              <a:xfrm>
                <a:off x="7217410" y="1376363"/>
                <a:ext cx="252000" cy="253040"/>
              </a:xfrm>
              <a:prstGeom prst="rect">
                <a:avLst/>
              </a:prstGeom>
              <a:noFill/>
              <a:ln w="9525"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600">
                  <a:solidFill>
                    <a:schemeClr val="tx1"/>
                  </a:solidFill>
                </a:endParaRPr>
              </a:p>
            </p:txBody>
          </p:sp>
          <p:sp>
            <p:nvSpPr>
              <p:cNvPr id="76" name="Rectangle 75">
                <a:extLst>
                  <a:ext uri="{FF2B5EF4-FFF2-40B4-BE49-F238E27FC236}">
                    <a16:creationId xmlns:a16="http://schemas.microsoft.com/office/drawing/2014/main" id="{1B707F50-3D63-420E-AB72-1306AEDB20A0}"/>
                  </a:ext>
                </a:extLst>
              </p:cNvPr>
              <p:cNvSpPr/>
              <p:nvPr>
                <p:custDataLst>
                  <p:tags r:id="rId3"/>
                </p:custDataLst>
              </p:nvPr>
            </p:nvSpPr>
            <p:spPr>
              <a:xfrm>
                <a:off x="7217410" y="1629404"/>
                <a:ext cx="252000" cy="237600"/>
              </a:xfrm>
              <a:prstGeom prst="rect">
                <a:avLst/>
              </a:prstGeom>
              <a:noFill/>
              <a:ln w="9525"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600">
                  <a:solidFill>
                    <a:schemeClr val="tx1"/>
                  </a:solidFill>
                </a:endParaRPr>
              </a:p>
            </p:txBody>
          </p:sp>
          <p:sp>
            <p:nvSpPr>
              <p:cNvPr id="77" name="Rectangle 76">
                <a:extLst>
                  <a:ext uri="{FF2B5EF4-FFF2-40B4-BE49-F238E27FC236}">
                    <a16:creationId xmlns:a16="http://schemas.microsoft.com/office/drawing/2014/main" id="{DD4FCBCC-087A-43E6-9E16-2E185D39DBB7}"/>
                  </a:ext>
                </a:extLst>
              </p:cNvPr>
              <p:cNvSpPr/>
              <p:nvPr>
                <p:custDataLst>
                  <p:tags r:id="rId4"/>
                </p:custDataLst>
              </p:nvPr>
            </p:nvSpPr>
            <p:spPr>
              <a:xfrm>
                <a:off x="7217410" y="1870724"/>
                <a:ext cx="252000" cy="237600"/>
              </a:xfrm>
              <a:prstGeom prst="rect">
                <a:avLst/>
              </a:prstGeom>
              <a:noFill/>
              <a:ln w="9525"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600">
                  <a:solidFill>
                    <a:schemeClr val="tx1"/>
                  </a:solidFill>
                </a:endParaRPr>
              </a:p>
            </p:txBody>
          </p:sp>
          <p:sp>
            <p:nvSpPr>
              <p:cNvPr id="78" name="Rectangle 77">
                <a:extLst>
                  <a:ext uri="{FF2B5EF4-FFF2-40B4-BE49-F238E27FC236}">
                    <a16:creationId xmlns:a16="http://schemas.microsoft.com/office/drawing/2014/main" id="{88FC3C29-B4CF-4726-87EB-6555727B1A68}"/>
                  </a:ext>
                </a:extLst>
              </p:cNvPr>
              <p:cNvSpPr/>
              <p:nvPr>
                <p:custDataLst>
                  <p:tags r:id="rId5"/>
                </p:custDataLst>
              </p:nvPr>
            </p:nvSpPr>
            <p:spPr>
              <a:xfrm>
                <a:off x="7217410" y="2112044"/>
                <a:ext cx="252000" cy="237600"/>
              </a:xfrm>
              <a:prstGeom prst="rect">
                <a:avLst/>
              </a:prstGeom>
              <a:noFill/>
              <a:ln w="9525"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600">
                  <a:solidFill>
                    <a:schemeClr val="tx1"/>
                  </a:solidFill>
                </a:endParaRPr>
              </a:p>
            </p:txBody>
          </p:sp>
          <p:sp>
            <p:nvSpPr>
              <p:cNvPr id="79" name="Rectangle 78">
                <a:extLst>
                  <a:ext uri="{FF2B5EF4-FFF2-40B4-BE49-F238E27FC236}">
                    <a16:creationId xmlns:a16="http://schemas.microsoft.com/office/drawing/2014/main" id="{04CC9707-A42B-4170-93C8-43EC5FB6A51C}"/>
                  </a:ext>
                </a:extLst>
              </p:cNvPr>
              <p:cNvSpPr/>
              <p:nvPr>
                <p:custDataLst>
                  <p:tags r:id="rId6"/>
                </p:custDataLst>
              </p:nvPr>
            </p:nvSpPr>
            <p:spPr>
              <a:xfrm>
                <a:off x="7217410" y="2353366"/>
                <a:ext cx="252000" cy="237600"/>
              </a:xfrm>
              <a:prstGeom prst="rect">
                <a:avLst/>
              </a:prstGeom>
              <a:noFill/>
              <a:ln w="9525"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600">
                  <a:solidFill>
                    <a:schemeClr val="tx1"/>
                  </a:solidFill>
                </a:endParaRPr>
              </a:p>
            </p:txBody>
          </p:sp>
          <p:sp>
            <p:nvSpPr>
              <p:cNvPr id="80" name="Rectangle 79">
                <a:extLst>
                  <a:ext uri="{FF2B5EF4-FFF2-40B4-BE49-F238E27FC236}">
                    <a16:creationId xmlns:a16="http://schemas.microsoft.com/office/drawing/2014/main" id="{85325C32-D40C-4350-AD85-04CBE8D91FEC}"/>
                  </a:ext>
                </a:extLst>
              </p:cNvPr>
              <p:cNvSpPr/>
              <p:nvPr>
                <p:custDataLst>
                  <p:tags r:id="rId7"/>
                </p:custDataLst>
              </p:nvPr>
            </p:nvSpPr>
            <p:spPr>
              <a:xfrm>
                <a:off x="7217410" y="2594688"/>
                <a:ext cx="252000" cy="237600"/>
              </a:xfrm>
              <a:prstGeom prst="rect">
                <a:avLst/>
              </a:prstGeom>
              <a:noFill/>
              <a:ln w="9525"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600">
                  <a:solidFill>
                    <a:schemeClr val="tx1"/>
                  </a:solidFill>
                </a:endParaRPr>
              </a:p>
            </p:txBody>
          </p:sp>
          <p:sp>
            <p:nvSpPr>
              <p:cNvPr id="81" name="Rectangle 80">
                <a:extLst>
                  <a:ext uri="{FF2B5EF4-FFF2-40B4-BE49-F238E27FC236}">
                    <a16:creationId xmlns:a16="http://schemas.microsoft.com/office/drawing/2014/main" id="{D8CDFFAD-A340-4733-8B20-AAB3B90C4DAD}"/>
                  </a:ext>
                </a:extLst>
              </p:cNvPr>
              <p:cNvSpPr/>
              <p:nvPr>
                <p:custDataLst>
                  <p:tags r:id="rId8"/>
                </p:custDataLst>
              </p:nvPr>
            </p:nvSpPr>
            <p:spPr>
              <a:xfrm>
                <a:off x="7217410" y="2836008"/>
                <a:ext cx="252000" cy="237600"/>
              </a:xfrm>
              <a:prstGeom prst="rect">
                <a:avLst/>
              </a:prstGeom>
              <a:noFill/>
              <a:ln w="9525"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600">
                  <a:solidFill>
                    <a:schemeClr val="tx1"/>
                  </a:solidFill>
                </a:endParaRPr>
              </a:p>
            </p:txBody>
          </p:sp>
          <p:sp>
            <p:nvSpPr>
              <p:cNvPr id="82" name="Rectangle 81">
                <a:extLst>
                  <a:ext uri="{FF2B5EF4-FFF2-40B4-BE49-F238E27FC236}">
                    <a16:creationId xmlns:a16="http://schemas.microsoft.com/office/drawing/2014/main" id="{756F8672-9739-4FD5-8AD6-431CE9A66D60}"/>
                  </a:ext>
                </a:extLst>
              </p:cNvPr>
              <p:cNvSpPr/>
              <p:nvPr>
                <p:custDataLst>
                  <p:tags r:id="rId9"/>
                </p:custDataLst>
              </p:nvPr>
            </p:nvSpPr>
            <p:spPr>
              <a:xfrm>
                <a:off x="7217410" y="3077329"/>
                <a:ext cx="252000" cy="237600"/>
              </a:xfrm>
              <a:prstGeom prst="rect">
                <a:avLst/>
              </a:prstGeom>
              <a:noFill/>
              <a:ln w="9525"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600">
                  <a:solidFill>
                    <a:schemeClr val="tx1"/>
                  </a:solidFill>
                </a:endParaRPr>
              </a:p>
            </p:txBody>
          </p:sp>
          <p:sp>
            <p:nvSpPr>
              <p:cNvPr id="83" name="Rectangle 82">
                <a:extLst>
                  <a:ext uri="{FF2B5EF4-FFF2-40B4-BE49-F238E27FC236}">
                    <a16:creationId xmlns:a16="http://schemas.microsoft.com/office/drawing/2014/main" id="{33994B94-7D65-4D5A-BE0C-C34D790839C9}"/>
                  </a:ext>
                </a:extLst>
              </p:cNvPr>
              <p:cNvSpPr/>
              <p:nvPr>
                <p:custDataLst>
                  <p:tags r:id="rId10"/>
                </p:custDataLst>
              </p:nvPr>
            </p:nvSpPr>
            <p:spPr>
              <a:xfrm>
                <a:off x="7217410" y="3318650"/>
                <a:ext cx="252000" cy="237600"/>
              </a:xfrm>
              <a:prstGeom prst="rect">
                <a:avLst/>
              </a:prstGeom>
              <a:noFill/>
              <a:ln w="9525"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600">
                  <a:solidFill>
                    <a:schemeClr val="tx1"/>
                  </a:solidFill>
                </a:endParaRPr>
              </a:p>
            </p:txBody>
          </p:sp>
          <p:sp>
            <p:nvSpPr>
              <p:cNvPr id="84" name="Rectangle 83">
                <a:extLst>
                  <a:ext uri="{FF2B5EF4-FFF2-40B4-BE49-F238E27FC236}">
                    <a16:creationId xmlns:a16="http://schemas.microsoft.com/office/drawing/2014/main" id="{644F3466-5458-4124-B1D5-BCDFF296DEC4}"/>
                  </a:ext>
                </a:extLst>
              </p:cNvPr>
              <p:cNvSpPr/>
              <p:nvPr>
                <p:custDataLst>
                  <p:tags r:id="rId11"/>
                </p:custDataLst>
              </p:nvPr>
            </p:nvSpPr>
            <p:spPr>
              <a:xfrm>
                <a:off x="7217410" y="3559971"/>
                <a:ext cx="252000" cy="237600"/>
              </a:xfrm>
              <a:prstGeom prst="rect">
                <a:avLst/>
              </a:prstGeom>
              <a:noFill/>
              <a:ln w="9525"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600">
                  <a:solidFill>
                    <a:schemeClr val="tx1"/>
                  </a:solidFill>
                </a:endParaRPr>
              </a:p>
            </p:txBody>
          </p:sp>
          <p:sp>
            <p:nvSpPr>
              <p:cNvPr id="85" name="Rectangle 84">
                <a:extLst>
                  <a:ext uri="{FF2B5EF4-FFF2-40B4-BE49-F238E27FC236}">
                    <a16:creationId xmlns:a16="http://schemas.microsoft.com/office/drawing/2014/main" id="{182D469E-82B2-45FF-8751-16BD9333492C}"/>
                  </a:ext>
                </a:extLst>
              </p:cNvPr>
              <p:cNvSpPr/>
              <p:nvPr>
                <p:custDataLst>
                  <p:tags r:id="rId12"/>
                </p:custDataLst>
              </p:nvPr>
            </p:nvSpPr>
            <p:spPr>
              <a:xfrm>
                <a:off x="7217410" y="3801292"/>
                <a:ext cx="252000" cy="237600"/>
              </a:xfrm>
              <a:prstGeom prst="rect">
                <a:avLst/>
              </a:prstGeom>
              <a:noFill/>
              <a:ln w="9525"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600">
                  <a:solidFill>
                    <a:schemeClr val="tx1"/>
                  </a:solidFill>
                </a:endParaRPr>
              </a:p>
            </p:txBody>
          </p:sp>
          <p:sp>
            <p:nvSpPr>
              <p:cNvPr id="86" name="Rectangle 85">
                <a:extLst>
                  <a:ext uri="{FF2B5EF4-FFF2-40B4-BE49-F238E27FC236}">
                    <a16:creationId xmlns:a16="http://schemas.microsoft.com/office/drawing/2014/main" id="{20DC59B1-C1CC-4B31-A9A2-FD3A9CA26671}"/>
                  </a:ext>
                </a:extLst>
              </p:cNvPr>
              <p:cNvSpPr/>
              <p:nvPr>
                <p:custDataLst>
                  <p:tags r:id="rId13"/>
                </p:custDataLst>
              </p:nvPr>
            </p:nvSpPr>
            <p:spPr>
              <a:xfrm>
                <a:off x="7217410" y="4042613"/>
                <a:ext cx="252000" cy="237600"/>
              </a:xfrm>
              <a:prstGeom prst="rect">
                <a:avLst/>
              </a:prstGeom>
              <a:noFill/>
              <a:ln w="9525"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600">
                  <a:solidFill>
                    <a:schemeClr val="tx1"/>
                  </a:solidFill>
                </a:endParaRPr>
              </a:p>
            </p:txBody>
          </p:sp>
          <p:sp>
            <p:nvSpPr>
              <p:cNvPr id="87" name="Rectangle 86">
                <a:extLst>
                  <a:ext uri="{FF2B5EF4-FFF2-40B4-BE49-F238E27FC236}">
                    <a16:creationId xmlns:a16="http://schemas.microsoft.com/office/drawing/2014/main" id="{5B67862C-7F4F-4716-8177-2E3CEF3F1A68}"/>
                  </a:ext>
                </a:extLst>
              </p:cNvPr>
              <p:cNvSpPr/>
              <p:nvPr>
                <p:custDataLst>
                  <p:tags r:id="rId14"/>
                </p:custDataLst>
              </p:nvPr>
            </p:nvSpPr>
            <p:spPr>
              <a:xfrm>
                <a:off x="7217410" y="4283932"/>
                <a:ext cx="252000" cy="237600"/>
              </a:xfrm>
              <a:prstGeom prst="rect">
                <a:avLst/>
              </a:prstGeom>
              <a:noFill/>
              <a:ln w="9525"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600">
                  <a:solidFill>
                    <a:schemeClr val="tx1"/>
                  </a:solidFill>
                </a:endParaRPr>
              </a:p>
            </p:txBody>
          </p:sp>
          <p:sp>
            <p:nvSpPr>
              <p:cNvPr id="112" name="Oval 111">
                <a:extLst>
                  <a:ext uri="{FF2B5EF4-FFF2-40B4-BE49-F238E27FC236}">
                    <a16:creationId xmlns:a16="http://schemas.microsoft.com/office/drawing/2014/main" id="{5AE11776-9B4A-406B-B041-0785AEDFE78F}"/>
                  </a:ext>
                </a:extLst>
              </p:cNvPr>
              <p:cNvSpPr/>
              <p:nvPr>
                <p:custDataLst>
                  <p:tags r:id="rId15"/>
                </p:custDataLst>
              </p:nvPr>
            </p:nvSpPr>
            <p:spPr>
              <a:xfrm>
                <a:off x="7414410" y="1412883"/>
                <a:ext cx="180000" cy="1800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800">
                    <a:solidFill>
                      <a:schemeClr val="bg1"/>
                    </a:solidFill>
                    <a:latin typeface="+mj-lt"/>
                  </a:rPr>
                  <a:t>1</a:t>
                </a:r>
              </a:p>
            </p:txBody>
          </p:sp>
          <p:sp>
            <p:nvSpPr>
              <p:cNvPr id="113" name="Oval 112">
                <a:extLst>
                  <a:ext uri="{FF2B5EF4-FFF2-40B4-BE49-F238E27FC236}">
                    <a16:creationId xmlns:a16="http://schemas.microsoft.com/office/drawing/2014/main" id="{54E566B5-9FDC-493F-A6AF-5BE84C7EF336}"/>
                  </a:ext>
                </a:extLst>
              </p:cNvPr>
              <p:cNvSpPr/>
              <p:nvPr>
                <p:custDataLst>
                  <p:tags r:id="rId16"/>
                </p:custDataLst>
              </p:nvPr>
            </p:nvSpPr>
            <p:spPr>
              <a:xfrm>
                <a:off x="7414410" y="1658203"/>
                <a:ext cx="180000" cy="1800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800">
                    <a:solidFill>
                      <a:schemeClr val="bg1"/>
                    </a:solidFill>
                    <a:latin typeface="+mj-lt"/>
                  </a:rPr>
                  <a:t>2</a:t>
                </a:r>
              </a:p>
            </p:txBody>
          </p:sp>
          <p:sp>
            <p:nvSpPr>
              <p:cNvPr id="114" name="Oval 113">
                <a:extLst>
                  <a:ext uri="{FF2B5EF4-FFF2-40B4-BE49-F238E27FC236}">
                    <a16:creationId xmlns:a16="http://schemas.microsoft.com/office/drawing/2014/main" id="{5ECF9C60-B8C0-413D-AE15-5459DDE2FF89}"/>
                  </a:ext>
                </a:extLst>
              </p:cNvPr>
              <p:cNvSpPr/>
              <p:nvPr>
                <p:custDataLst>
                  <p:tags r:id="rId17"/>
                </p:custDataLst>
              </p:nvPr>
            </p:nvSpPr>
            <p:spPr>
              <a:xfrm>
                <a:off x="7414410" y="1899524"/>
                <a:ext cx="180000" cy="1800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800">
                    <a:solidFill>
                      <a:schemeClr val="bg1"/>
                    </a:solidFill>
                    <a:latin typeface="+mj-lt"/>
                  </a:rPr>
                  <a:t>3</a:t>
                </a:r>
              </a:p>
            </p:txBody>
          </p:sp>
          <p:sp>
            <p:nvSpPr>
              <p:cNvPr id="115" name="Oval 114">
                <a:extLst>
                  <a:ext uri="{FF2B5EF4-FFF2-40B4-BE49-F238E27FC236}">
                    <a16:creationId xmlns:a16="http://schemas.microsoft.com/office/drawing/2014/main" id="{C92AF1C7-B3FC-42B9-A683-D955BC714B55}"/>
                  </a:ext>
                </a:extLst>
              </p:cNvPr>
              <p:cNvSpPr/>
              <p:nvPr>
                <p:custDataLst>
                  <p:tags r:id="rId18"/>
                </p:custDataLst>
              </p:nvPr>
            </p:nvSpPr>
            <p:spPr>
              <a:xfrm>
                <a:off x="7414410" y="2140845"/>
                <a:ext cx="180000" cy="1800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800">
                    <a:solidFill>
                      <a:schemeClr val="bg1"/>
                    </a:solidFill>
                    <a:latin typeface="+mj-lt"/>
                  </a:rPr>
                  <a:t>4</a:t>
                </a:r>
              </a:p>
            </p:txBody>
          </p:sp>
          <p:sp>
            <p:nvSpPr>
              <p:cNvPr id="116" name="Oval 115">
                <a:extLst>
                  <a:ext uri="{FF2B5EF4-FFF2-40B4-BE49-F238E27FC236}">
                    <a16:creationId xmlns:a16="http://schemas.microsoft.com/office/drawing/2014/main" id="{95AFE658-D2FA-4BA3-89A3-4D6941A107BE}"/>
                  </a:ext>
                </a:extLst>
              </p:cNvPr>
              <p:cNvSpPr/>
              <p:nvPr>
                <p:custDataLst>
                  <p:tags r:id="rId19"/>
                </p:custDataLst>
              </p:nvPr>
            </p:nvSpPr>
            <p:spPr>
              <a:xfrm>
                <a:off x="7414410" y="2382166"/>
                <a:ext cx="180000" cy="1800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800">
                    <a:solidFill>
                      <a:schemeClr val="bg1"/>
                    </a:solidFill>
                    <a:latin typeface="+mj-lt"/>
                  </a:rPr>
                  <a:t>5</a:t>
                </a:r>
              </a:p>
            </p:txBody>
          </p:sp>
          <p:sp>
            <p:nvSpPr>
              <p:cNvPr id="117" name="Oval 116">
                <a:extLst>
                  <a:ext uri="{FF2B5EF4-FFF2-40B4-BE49-F238E27FC236}">
                    <a16:creationId xmlns:a16="http://schemas.microsoft.com/office/drawing/2014/main" id="{DEFB6D40-3C4F-41FB-9A0C-481623EFAFD7}"/>
                  </a:ext>
                </a:extLst>
              </p:cNvPr>
              <p:cNvSpPr/>
              <p:nvPr>
                <p:custDataLst>
                  <p:tags r:id="rId20"/>
                </p:custDataLst>
              </p:nvPr>
            </p:nvSpPr>
            <p:spPr>
              <a:xfrm>
                <a:off x="7414410" y="2623487"/>
                <a:ext cx="180000" cy="1800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800">
                    <a:solidFill>
                      <a:schemeClr val="bg1"/>
                    </a:solidFill>
                    <a:latin typeface="+mj-lt"/>
                  </a:rPr>
                  <a:t>6</a:t>
                </a:r>
              </a:p>
            </p:txBody>
          </p:sp>
          <p:sp>
            <p:nvSpPr>
              <p:cNvPr id="118" name="Oval 117">
                <a:extLst>
                  <a:ext uri="{FF2B5EF4-FFF2-40B4-BE49-F238E27FC236}">
                    <a16:creationId xmlns:a16="http://schemas.microsoft.com/office/drawing/2014/main" id="{F7438E6C-1475-4E28-9A89-8591167BC74B}"/>
                  </a:ext>
                </a:extLst>
              </p:cNvPr>
              <p:cNvSpPr/>
              <p:nvPr>
                <p:custDataLst>
                  <p:tags r:id="rId21"/>
                </p:custDataLst>
              </p:nvPr>
            </p:nvSpPr>
            <p:spPr>
              <a:xfrm>
                <a:off x="7414410" y="2864807"/>
                <a:ext cx="180000" cy="1800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800">
                    <a:solidFill>
                      <a:schemeClr val="bg1"/>
                    </a:solidFill>
                    <a:latin typeface="+mj-lt"/>
                  </a:rPr>
                  <a:t>7</a:t>
                </a:r>
              </a:p>
            </p:txBody>
          </p:sp>
          <p:sp>
            <p:nvSpPr>
              <p:cNvPr id="119" name="Oval 118">
                <a:extLst>
                  <a:ext uri="{FF2B5EF4-FFF2-40B4-BE49-F238E27FC236}">
                    <a16:creationId xmlns:a16="http://schemas.microsoft.com/office/drawing/2014/main" id="{30E26FC0-D64E-4C9A-B859-B95C1E94215C}"/>
                  </a:ext>
                </a:extLst>
              </p:cNvPr>
              <p:cNvSpPr/>
              <p:nvPr>
                <p:custDataLst>
                  <p:tags r:id="rId22"/>
                </p:custDataLst>
              </p:nvPr>
            </p:nvSpPr>
            <p:spPr>
              <a:xfrm>
                <a:off x="7414410" y="3106129"/>
                <a:ext cx="180000" cy="1800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800">
                    <a:solidFill>
                      <a:schemeClr val="bg1"/>
                    </a:solidFill>
                    <a:latin typeface="+mj-lt"/>
                  </a:rPr>
                  <a:t>8</a:t>
                </a:r>
              </a:p>
            </p:txBody>
          </p:sp>
          <p:sp>
            <p:nvSpPr>
              <p:cNvPr id="120" name="Oval 119">
                <a:extLst>
                  <a:ext uri="{FF2B5EF4-FFF2-40B4-BE49-F238E27FC236}">
                    <a16:creationId xmlns:a16="http://schemas.microsoft.com/office/drawing/2014/main" id="{F2A0C193-6781-4062-ACD2-14F387D25270}"/>
                  </a:ext>
                </a:extLst>
              </p:cNvPr>
              <p:cNvSpPr/>
              <p:nvPr>
                <p:custDataLst>
                  <p:tags r:id="rId23"/>
                </p:custDataLst>
              </p:nvPr>
            </p:nvSpPr>
            <p:spPr>
              <a:xfrm>
                <a:off x="7414410" y="3347450"/>
                <a:ext cx="180000" cy="1800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r>
                  <a:rPr lang="en-GB" sz="800">
                    <a:solidFill>
                      <a:schemeClr val="bg1"/>
                    </a:solidFill>
                    <a:latin typeface="+mj-lt"/>
                  </a:rPr>
                  <a:t>9</a:t>
                </a:r>
              </a:p>
            </p:txBody>
          </p:sp>
          <p:sp>
            <p:nvSpPr>
              <p:cNvPr id="121" name="Oval 120">
                <a:extLst>
                  <a:ext uri="{FF2B5EF4-FFF2-40B4-BE49-F238E27FC236}">
                    <a16:creationId xmlns:a16="http://schemas.microsoft.com/office/drawing/2014/main" id="{0230A61B-E035-4AA9-8C0B-DB14C8111947}"/>
                  </a:ext>
                </a:extLst>
              </p:cNvPr>
              <p:cNvSpPr/>
              <p:nvPr>
                <p:custDataLst>
                  <p:tags r:id="rId24"/>
                </p:custDataLst>
              </p:nvPr>
            </p:nvSpPr>
            <p:spPr>
              <a:xfrm>
                <a:off x="7414410" y="3588771"/>
                <a:ext cx="180000" cy="1800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486000"/>
                <a:r>
                  <a:rPr lang="en-GB" sz="800">
                    <a:solidFill>
                      <a:schemeClr val="bg1"/>
                    </a:solidFill>
                    <a:latin typeface="+mj-lt"/>
                  </a:rPr>
                  <a:t>10</a:t>
                </a:r>
              </a:p>
            </p:txBody>
          </p:sp>
          <p:sp>
            <p:nvSpPr>
              <p:cNvPr id="122" name="Oval 121">
                <a:extLst>
                  <a:ext uri="{FF2B5EF4-FFF2-40B4-BE49-F238E27FC236}">
                    <a16:creationId xmlns:a16="http://schemas.microsoft.com/office/drawing/2014/main" id="{085C2085-86CB-4EE0-AEDB-E0DC2E2139BB}"/>
                  </a:ext>
                </a:extLst>
              </p:cNvPr>
              <p:cNvSpPr/>
              <p:nvPr>
                <p:custDataLst>
                  <p:tags r:id="rId25"/>
                </p:custDataLst>
              </p:nvPr>
            </p:nvSpPr>
            <p:spPr>
              <a:xfrm>
                <a:off x="7414410" y="3830093"/>
                <a:ext cx="180000" cy="1800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486000"/>
                <a:r>
                  <a:rPr lang="en-GB" sz="800">
                    <a:solidFill>
                      <a:schemeClr val="bg1"/>
                    </a:solidFill>
                    <a:latin typeface="+mj-lt"/>
                  </a:rPr>
                  <a:t>11</a:t>
                </a:r>
              </a:p>
            </p:txBody>
          </p:sp>
          <p:sp>
            <p:nvSpPr>
              <p:cNvPr id="123" name="Oval 122">
                <a:extLst>
                  <a:ext uri="{FF2B5EF4-FFF2-40B4-BE49-F238E27FC236}">
                    <a16:creationId xmlns:a16="http://schemas.microsoft.com/office/drawing/2014/main" id="{F14C7704-CA88-417B-ADB4-2D558A0F9293}"/>
                  </a:ext>
                </a:extLst>
              </p:cNvPr>
              <p:cNvSpPr/>
              <p:nvPr>
                <p:custDataLst>
                  <p:tags r:id="rId26"/>
                </p:custDataLst>
              </p:nvPr>
            </p:nvSpPr>
            <p:spPr>
              <a:xfrm>
                <a:off x="7414410" y="4071413"/>
                <a:ext cx="180000" cy="1800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486000"/>
                <a:r>
                  <a:rPr lang="en-GB" sz="800">
                    <a:solidFill>
                      <a:schemeClr val="bg1"/>
                    </a:solidFill>
                    <a:latin typeface="+mj-lt"/>
                  </a:rPr>
                  <a:t>12</a:t>
                </a:r>
              </a:p>
            </p:txBody>
          </p:sp>
          <p:sp>
            <p:nvSpPr>
              <p:cNvPr id="124" name="Oval 123">
                <a:extLst>
                  <a:ext uri="{FF2B5EF4-FFF2-40B4-BE49-F238E27FC236}">
                    <a16:creationId xmlns:a16="http://schemas.microsoft.com/office/drawing/2014/main" id="{2E12AA92-7E36-4041-8926-14EBBA0C6305}"/>
                  </a:ext>
                </a:extLst>
              </p:cNvPr>
              <p:cNvSpPr/>
              <p:nvPr>
                <p:custDataLst>
                  <p:tags r:id="rId27"/>
                </p:custDataLst>
              </p:nvPr>
            </p:nvSpPr>
            <p:spPr>
              <a:xfrm>
                <a:off x="7414410" y="4312733"/>
                <a:ext cx="180000" cy="1800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486000"/>
                <a:r>
                  <a:rPr lang="en-GB" sz="800">
                    <a:solidFill>
                      <a:schemeClr val="bg1"/>
                    </a:solidFill>
                    <a:latin typeface="+mj-lt"/>
                  </a:rPr>
                  <a:t>13</a:t>
                </a:r>
              </a:p>
            </p:txBody>
          </p:sp>
          <p:sp>
            <p:nvSpPr>
              <p:cNvPr id="147" name="Rectangle 146">
                <a:extLst>
                  <a:ext uri="{FF2B5EF4-FFF2-40B4-BE49-F238E27FC236}">
                    <a16:creationId xmlns:a16="http://schemas.microsoft.com/office/drawing/2014/main" id="{3E83DC73-8270-4FD6-9B08-2A3F9C36D6CE}"/>
                  </a:ext>
                </a:extLst>
              </p:cNvPr>
              <p:cNvSpPr/>
              <p:nvPr>
                <p:custDataLst>
                  <p:tags r:id="rId28"/>
                </p:custDataLst>
              </p:nvPr>
            </p:nvSpPr>
            <p:spPr>
              <a:xfrm>
                <a:off x="5481793" y="1376363"/>
                <a:ext cx="1735615" cy="5051438"/>
              </a:xfrm>
              <a:prstGeom prst="rect">
                <a:avLst/>
              </a:prstGeom>
              <a:noFill/>
              <a:ln w="9525"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ctr"/>
              <a:lstStyle/>
              <a:p>
                <a:pPr algn="ctr" defTabSz="486000"/>
                <a:endParaRPr lang="en-GB" sz="1600">
                  <a:solidFill>
                    <a:schemeClr val="tx1"/>
                  </a:solidFill>
                </a:endParaRPr>
              </a:p>
            </p:txBody>
          </p:sp>
        </p:grpSp>
      </p:grpSp>
      <p:cxnSp>
        <p:nvCxnSpPr>
          <p:cNvPr id="149" name="Connector: Elbow 148">
            <a:extLst>
              <a:ext uri="{FF2B5EF4-FFF2-40B4-BE49-F238E27FC236}">
                <a16:creationId xmlns:a16="http://schemas.microsoft.com/office/drawing/2014/main" id="{01E87FBF-BFE7-4181-B63F-B66D0BBE7892}"/>
              </a:ext>
            </a:extLst>
          </p:cNvPr>
          <p:cNvCxnSpPr>
            <a:stCxn id="49" idx="1"/>
            <a:endCxn id="14" idx="3"/>
          </p:cNvCxnSpPr>
          <p:nvPr/>
        </p:nvCxnSpPr>
        <p:spPr>
          <a:xfrm rot="10800000" flipV="1">
            <a:off x="5196001" y="3117915"/>
            <a:ext cx="438747" cy="742894"/>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963368121"/>
      </p:ext>
    </p:extLst>
  </p:cSld>
  <p:clrMapOvr>
    <a:masterClrMapping/>
  </p:clrMapOvr>
  <mc:AlternateContent xmlns:mc="http://schemas.openxmlformats.org/markup-compatibility/2006" xmlns:p14="http://schemas.microsoft.com/office/powerpoint/2010/main">
    <mc:Choice Requires="p14">
      <p:transition spd="med">
        <p14:pan/>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S_NET" val="6.0.33"/>
  <p:tag name="AS_OS" val="Microsoft Windows NT 10.0.17763.0"/>
  <p:tag name="AS_RELEASE_DATE" val="2023.08.14"/>
  <p:tag name="AS_TITLE" val="Aspose.Slides for .NET6"/>
  <p:tag name="AS_VERSION" val="23.8"/>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0XHekBT8OFKnYsp3S6sb0YEAAAAAAADAAAAAAADAAAAAwADAAIA////////BQAAAAMAEAALUxFzWTNQgUCZ6QEWSfWriQQAAAABAAMAAAACAAMAAAAEAAMAAAAAAP///////wQAAQD///////8FAAAABAAQAAscGWK7VcN6RrA3LWwe4TTd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Rcd6QFPw4UqdiyndLqxvRgNEYXRhABsAAAAETGlua2VkU2hhcGVEYXRhAAUAAAAAAAJOYW1lABkAAABMaW5rZWRTaGFwZXNEYXRhUHJvcGVydHkAEFZlcnNpb24AAAAAAAlMYXN0V3JpdGUAFhq5uoEBAAAAAQD/////xgDGAAAABV9pZAAQAAAABFMRc1kzUIFAmekBFkn1q4kDRGF0YQBTAAAACFByZXNlbnRhdGlvblNjYW5uZWRGb3JMaW5rZWRTaGFwZXMAAQJOdW1iZXJGb3JtYXRTZXBhcmF0b3JNb2RlAAoAAABBdXRvbWF0aWMAAAJOYW1lACQAAABMaW5rZWRTaGFwZVByZXNlbnRhdGlvblNldHRpbmdzRGF0YQAQVmVyc2lvbgAAAAAACUxhc3RXcml0ZQBiGrm6gQEAAAACAP////+DAIMAAAAFX2lkABAAAAAEHBliu1XDekawNy1sHuE03QNEYXRhABsAAAAETGlua2VkU2hhcGVEYXRhAAUAAAAAAAJOYW1lABkAAABMaW5rZWRTaGFwZXNEYXRhUHJvcGVydHkAEFZlcnNpb24AAQAAAAlMYXN0V3JpdGUAJfd5PY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hCwAAAAAAAAAAAAAgAf///////////////wAAAP///////////////wUAAAADAP///////wUAAAADAP///////////////////////////////////////////////////////////////////////////////////////////////////////////////////////////////////////////////////////////////////////////////////////////////////////////////////////////////////////////////////////////////////////////////////////////////////////////////////////////////////////////////////////////////////////////////////////////////////////////////////////////////////////////////////////////////////////////////////////////////wEAIAH///////////////8AAA7///////8FAAAABAD///////////////////////////////////////////////////////////////////////////////////////////////////////////////////////////////////////////////////////////////////////////////////////////////////////////////////////////////////////////////////////////////////////////////////////////////////////////////////////////////////////////////////////////////////////////////////////////////////////////////////////////////////////////////////////////////////////////////////////////////////////////////////////8CAAEBAwAAAAIA////////GgAGTGlua2VkU2hhcGVzRGF0YVByb3BlcnR5XzAEAAAAAAAFAAAAAwAFAAAABAADAAIBAwAAAAMA////////JQAGTGlua2VkU2hhcGVQcmVzZW50YXRpb25TZXR0aW5nc0RhdGFfMAQAAAABAAUAAAAAAAUAAAACAAUAAAAAAP///////wQAAQEDAAAABAD///////8aAAZMaW5rZWRTaGFwZXNEYXRhUHJvcGVydHlfMQQAAAACAAUAAAAC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A_LENGTH" val="24576"/>
  <p:tag name="EMPOWERCHARTSPROPERTIES_LASTWRITEDATE" val="638417302198379509"/>
  <p:tag name="EMPOWERCHARTSPROPERTIES_SLOT" val="A"/>
  <p:tag name="MIO_CDID" val=""/>
  <p:tag name="MIO_CONTENTTAG" val="cOr3Mw2dzUmAUn4Gm+jxJQ=="/>
  <p:tag name="MIO_DBID" val="B8FCB12D-AF03-49EB-9F79-BB019BE99E1E"/>
  <p:tag name="MIO_EKGUID" val="405161d3-656b-4991-8a53-2b48d4dd1459"/>
  <p:tag name="MIO_LASTEDITORNAME" val="Georgina DEMO"/>
  <p:tag name="MIO_OBJECTFOLDER" val="628c6c01-aac5-44b5-8261-e65e67c07e04"/>
  <p:tag name="MIO_PRESENTATION_LANGUAGE" val="2057"/>
  <p:tag name="MIO_UPDATE" val="True"/>
  <p:tag name="MIO_VERSION" val="05.09.2024 19:30:13"/>
  <p:tag name="MIO_XPLAT_OBJECTNAME" val="Video guides"/>
</p:tagLst>
</file>

<file path=ppt/tags/tag10.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75ba3e29-3e69-460f-adc3-59bbb9830f62"/>
  <p:tag name="MIO_GUID" val="2542927e-b0ca-428c-91a8-fa3fc546aa23"/>
  <p:tag name="MIO_LASTDOWNLOADED" val="21.08.2022 23:47:20.540"/>
  <p:tag name="MIO_LASTEDITORNAME" val="Stephan Kuhnert"/>
  <p:tag name="MIO_OBJECTNAME" val="Picture 6"/>
  <p:tag name="MIO_UPDATE" val="True"/>
  <p:tag name="MIO_VERSION" val="14.08.2022 19:59:51"/>
</p:tagLst>
</file>

<file path=ppt/tags/tag100.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BAD///////8DAAAABAD///////////////////////////////////////////////////////////////////////////////////////////////////////////////////////////////////////////////////////////////////////////////////////////////////////////////////////////////////////////////////////////////////////////////////////////////////////////////////////////////////////////////////////////////////////////////////////////////////////////////////////////////////////////////////////////////////////////////8BACAA////////////////AAAO////////AwAAAAMA////////////////////////////////////////////////////////////////////////////////////////////////////////////////////////////////////////////////////////////////////////////////////////////////////////////////////////////////////////////////////////////////////////////////////////////////////////////////////////////////////////////////////////////////////////////////////////////////////////////////////////////////////////////////////////////////////////////////////////////////////////////////////////AgABAP///////wUAAAACABAAC3xpIMEl7jlDiEM4VFOtCowEAAAAAAADAAAAAAADAAAABAADAAMA////////BQAAAAMAEAALNNaY9gPby0KxPUhcvcVeWwQAAAABAAMAAAAEAAMAAAABAAMAAAAEAP///////wMAAAAEAP///////wQAAwD///////8FAAAABAAQAAtEKqbj6XC+TIo9+CShxC9R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GkgwSXuOUOIQzhUU60KjAREYXRhAAUAAAAAAk5hbWUADQAAAExpbmtEYXRhTGlzdAAQVmVyc2lvbgAAAAAACUxhc3RXcml0ZQDvnbDCkQEAAAABAP////9hAGEAAAAFX2lkABAAAAAENNaY9gPby0KxPUhcvcVeWwREYXRhAAUAAAAAAk5hbWUADQAAAExpbmtEYXRhTGlzdAAQVmVyc2lvbgABAAAACUxhc3RXcml0ZQD1nbDCkQEAAAACAP////9wAHAAAAAFX2lkABAAAAAERCqm4+lwvkyKPfgkocQvUQNEYXRhABYAAAACUGVyc29uYWxJZAABAAAAAAACTmFtZQALAAAAUGVyc29uYWxJZAAQVmVyc2lvbgAAAAAACUxhc3RXcml0ZQAQnrD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1450404255106"/>
  <p:tag name="EMPOWERCHARTSPROPERTIES_SLOT" val="B"/>
  <p:tag name="RUNTIME_ID" val="1dfd0dcb-87de-4461-bda5-c2e766ac793e"/>
</p:tagLst>
</file>

<file path=ppt/tags/tag101.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gD///////////////////////////////////////////////////////////////////////////////////////////////////////////////////////////////////////////////////////////////////////////////////////////////////////////////////////////////////////////////////////////////////////////////////////////////////////////////////////////////////////////////////////////////////////////////////////////////////////////////////////////////////////////////////////////////////////////////8BACAA////////////////AAAO////////AwAAAAMA////////////////////////////////////////////////////////////////////////////////////////////////////////////////////////////////////////////////////////////////////////////////////////////////////////////////////////////////////////////////////////////////////////////////////////////////////////////////////////////////////////////////////////////////////////////////////////////////////////////////////////////////////////////////////////////////////////////////////////////////////////////////////////AgADAP///////wUAAAACABAAC/VGmwtrJadFoXrFLXTDvR4EAAAAAAADAAAAAAADAAAABAADAAAAAAADAAAABAADAAAAAAD///////8DAAEA////////BQAAAAMAEAAL5XZAeHNlRU6DmOwDcTeiNQQAAAABAAMAAAAEAAMAAAABAAQAAgD///////8FAAAABAAQAAux83Zjcn1BSIOqlvNDtaFLBAAAAAIAAwAAAAI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UabC2slp0WhesUtdMO9HgREYXRhAAUAAAAAAk5hbWUADQAAAExpbmtEYXRhTGlzdAAQVmVyc2lvbgABAAAACUxhc3RXcml0ZQCOnrDCkQEAAAABAP////9hAGEAAAAFX2lkABAAAAAE5XZAeHNlRU6DmOwDcTeiNQREYXRhAAUAAAAAAk5hbWUADQAAAExpbmtEYXRhTGlzdAAQVmVyc2lvbgAAAAAACUxhc3RXcml0ZQCKnrDCkQEAAAACAP////9wAHAAAAAFX2lkABAAAAAEsfN2Y3J9QUiDqpbzQ7WhSwNEYXRhABYAAAACUGVyc29uYWxJZAABAAAAAAACTmFtZQALAAAAUGVyc29uYWxJZAAQVmVyc2lvbgAAAAAACUxhc3RXcml0ZQCjnrD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CAP///////wUAAAACAP///////////////////////////////////////////////////////////////////////////////////////////////////////////////////////////////////////////////////////////////////////////////////////////////////////////////////////////////////////////////////////////////////////////////////////////////////////////////////////////////////////////////////////////////////////////////////////////////////////////////////////////////////////////////////////////////////////////////wEAIAH///////////////8AAA7///////8FAAAABAD///////////////////////////////////////////////////////////////////////////////////////////////////////////////////////////////////////////////////////////////////////////////////////////////////////////////////////////////////////////////////////////////////////////////////////////////////////////////////////////////////////////////////////////////////////////////////////////////////////////////////////////////////////////////////////////////////////////////////////////////////////////////////////8CAAMBAwAAAAIA////////DgAGTGlua0RhdGFMaXN0XzEEAAAAAAAFAAAAAwAFAAAABAAFAAAAAAAFAAAABAAFAAAAAAAFAAAABAADAAEBAwAAAAMA////////DgAGTGlua0RhdGFMaXN0XzAEAAAAAQAFAAAAAAAFAAAAAgAEAAMBAwAAAAQA////////DAAGUGVyc29uYWxJZF8wBAAAAAIABQAAAAI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1450405712485"/>
  <p:tag name="EMPOWERCHARTSPROPERTIES_SLOT" val="B"/>
  <p:tag name="RUNTIME_ID" val="0d09b0ec-115f-4821-8394-ebbc65959ee7"/>
</p:tagLst>
</file>

<file path=ppt/tags/tag102.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BAD///////////////////////////////////////////////////////////////////////////////////////////////////////////////////////////////////////////////////////////////////////////////////////////////////////////////////////////////////////////////////////////////////////////////////////////////////////////////////////////////////////////////////////////////////////////////////////////////////////////////////////////////////////////////////////////////////////////////////////////////8BACAA////////////////AAAO////////AwAAAAMA////////////////////////////////////////////////////////////////////////////////////////////////////////////////////////////////////////////////////////////////////////////////////////////////////////////////////////////////////////////////////////////////////////////////////////////////////////////////////////////////////////////////////////////////////////////////////////////////////////////////////////////////////////////////////////////////////////////////////////////////////////////////////////AgABAP///////wUAAAACABAAC1OajxFGljhMpGLTRoSFC0MEAAAAAAADAAAAAAADAAAABAADAAIA////////BQAAAAMAEAALE/7mokXaxE+Bjc6cptSDJAQAAAABAAMAAAAEAAMAAAABAAMAAAAEAP///////wQAAgD///////8FAAAABAAQAAsStnlkgfNKS7YgGeaB5/m3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5qPEUaWOEykYtNGhIULQwREYXRhAAUAAAAAAk5hbWUADQAAAExpbmtEYXRhTGlzdAAQVmVyc2lvbgAAAAAACUxhc3RXcml0ZQDUnrDCkQEAAAABAP////9hAGEAAAAFX2lkABAAAAAEE/7mokXaxE+Bjc6cptSDJAREYXRhAAUAAAAAAk5hbWUADQAAAExpbmtEYXRhTGlzdAAQVmVyc2lvbgABAAAACUxhc3RXcml0ZQDXnrDCkQEAAAACAP////9wAHAAAAAFX2lkABAAAAAEErZ5ZIHzSku2IBnmgef5twNEYXRhABYAAAACUGVyc29uYWxJZAABAAAAAAACTmFtZQALAAAAUGVyc29uYWxJZAAQVmVyc2lvbgAAAAAACUxhc3RXcml0ZQDrnrD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1450406448890"/>
  <p:tag name="EMPOWERCHARTSPROPERTIES_SLOT" val="B"/>
  <p:tag name="RUNTIME_ID" val="f8c703f3-791b-4cbc-b1ac-548d63918134"/>
</p:tagLst>
</file>

<file path=ppt/tags/tag103.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gD///////8DAAAAAgD///////////////////////////////////////////////////////////////////////////////////////////////////////////////////////////////////////////////////////////////////////////////////////////////////////////////////////////////////////////////////////////////////////////////////////////////////////////////////////////////////////////////////////////////////////////////////////////////////////////////////////////////////////////////////////////////////////////////8BACAA////////////////AAAO////////AwAAAAMA////////////////////////////////////////////////////////////////////////////////////////////////////////////////////////////////////////////////////////////////////////////////////////////////////////////////////////////////////////////////////////////////////////////////////////////////////////////////////////////////////////////////////////////////////////////////////////////////////////////////////////////////////////////////////////////////////////////////////////////////////////////////////////AgADAP///////wUAAAACABAAC9mMawIlRNxGounB2OpXNlwEAAAAAAADAAAAAAADAAAABAADAAAAAAD///////8DAAAAAAD///////8DAAEA////////BQAAAAMAEAAL42LQjVzR1k+kwBnrXkRxrQQAAAABAAMAAAAEAAMAAAABAAQAAQD///////8FAAAABAAQAAtU5tMlxPTQRY6tx0DC6NNc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2YxrAiVE3Eai6cHY6lc2XAREYXRhAAUAAAAAAk5hbWUADQAAAExpbmtEYXRhTGlzdAAQVmVyc2lvbgABAAAACUxhc3RXcml0ZQBln7DCkQEAAAABAP////9hAGEAAAAFX2lkABAAAAAE42LQjVzR1k+kwBnrXkRxrQREYXRhAAUAAAAAAk5hbWUADQAAAExpbmtEYXRhTGlzdAAQVmVyc2lvbgAAAAAACUxhc3RXcml0ZQBkn7DCkQEAAAACAP////9wAHAAAAAFX2lkABAAAAAEVObTJcT00EWOrcdAwujTXANEYXRhABYAAAACUGVyc29uYWxJZAABAAAAAAACTmFtZQALAAAAUGVyc29uYWxJZAAQVmVyc2lvbgAAAAAACUxhc3RXcml0ZQCYn7D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CAP///////wUAAAACAP///////////////////////////////////////////////////////////////////////////////////////////////////////////////////////////////////////////////////////////////////////////////////////////////////////////////////////////////////////////////////////////////////////////////////////////////////////////////////////////////////////////////////////////////////////////////////////////////////////////////////////////////////////////////////////////////////////////////wEAIAH///////////////8AAA7///////8FAAAABAD///////////////////////////////////////////////////////////////////////////////////////////////////////////////////////////////////////////////////////////////////////////////////////////////////////////////////////////////////////////////////////////////////////////////////////////////////////////////////////////////////////////////////////////////////////////////////////////////////////////////////////////////////////////////////////////////////////////////////////////////////////////////////////8CAAMBAwAAAAIA////////DgAGTGlua0RhdGFMaXN0XzEEAAAAAAAFAAAAAwAFAAAABAAFAAAAAAAFAAAABAAFAAAAAAAFAAAABAADAAEBAwAAAAMA////////DgAGTGlua0RhdGFMaXN0XzAEAAAAAQAFAAAAAAAFAAAAAgAEAAMBAwAAAAQA////////DAAGUGVyc29uYWxJZF8wBAAAAAIABQAAAAI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1450408115754"/>
  <p:tag name="EMPOWERCHARTSPROPERTIES_SLOT" val="B"/>
  <p:tag name="RUNTIME_ID" val="afbe6196-34f4-4163-9fdb-2035c1d6f813"/>
</p:tagLst>
</file>

<file path=ppt/tags/tag104.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BAD///////8DAAAABAD///////8DAAAABAD///////////////////////////////////////////////////////////////////////////////////////////////////////////////////////////////////////////////////////////////////////////////////////////////////////////////////////////////////////////////////////////////////////////////////////////////////////////////////////////////////////////////////////////////////////////////////////////////////////////////////////////////////////////////////////////////////////////////8BACAA////////////////AAAO////////AwAAAAMA////////////////////////////////////////////////////////////////////////////////////////////////////////////////////////////////////////////////////////////////////////////////////////////////////////////////////////////////////////////////////////////////////////////////////////////////////////////////////////////////////////////////////////////////////////////////////////////////////////////////////////////////////////////////////////////////////////////////////////////////////////////////////////AgABAP///////wUAAAACABAAC5Sxqi5MaDJJqyoCSV2uT/UEAAAAAAADAAAABAADAAAAAwADAAMA////////BQAAAAMAEAALEZsBMR84sEm7I5ue7DKrcwQAAAABAAMAAAACAAMAAAABAAMAAAAEAP///////wMAAAAEAP///////wQAAwD///////8FAAAABAAQAAvGC6YURw+lSoCsaDNDZgoEBAAAAAIAAwAAAAAAAwAAAAI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LGqLkxoMkmrKgJJXa5P9QREYXRhAAUAAAAAAk5hbWUADQAAAExpbmtEYXRhTGlzdAAQVmVyc2lvbgAAAAAACUxhc3RXcml0ZQC/n7DCkQEAAAABAP////9hAGEAAAAFX2lkABAAAAAEEZsBMR84sEm7I5ue7DKrcwREYXRhAAUAAAAAAk5hbWUADQAAAExpbmtEYXRhTGlzdAAQVmVyc2lvbgABAAAACUxhc3RXcml0ZQDAn7DCkQEAAAACAP////9wAHAAAAAFX2lkABAAAAAExgumFEcPpUqArGgzQ2YKBANEYXRhABYAAAACUGVyc29uYWxJZAABAAAAAAACTmFtZQALAAAAUGVyc29uYWxJZAAQVmVyc2lvbgAAAAAACUxhc3RXcml0ZQDUn7D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DAP///////////////////////////////////////////////////////////////////////////////////////////////////////////////////////////////////////////////////////////////////////////////////////////////////////////////////////////////////////////////////////////////////////////////////////////////////////////////////////////////////////////////////////////////////////////////////////////////////////////////////////////////////////////////////////////////////////////////wEAIAH///////////////8AAA7///////8FAAAABAD///////////////////////////////////////////////////////////////////////////////////////////////////////////////////////////////////////////////////////////////////////////////////////////////////////////////////////////////////////////////////////////////////////////////////////////////////////////////////////////////////////////////////////////////////////////////////////////////////////////////////////////////////////////////////////////////////////////////////////////////////////////////////////8CAAEBAwAAAAIA////////DgAGTGlua0RhdGFMaXN0XzAEAAAAAAAFAAAAAAAFAAAAAwADAAMBAwAAAAMA////////DgAGTGlua0RhdGFMaXN0XzEEAAAAAQAFAAAAAgAFAAAABAAFAAAAAAAFAAAABAA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1450408720536"/>
  <p:tag name="EMPOWERCHARTSPROPERTIES_SLOT" val="B"/>
  <p:tag name="RUNTIME_ID" val="cdb549b2-cce7-4e8b-865f-4407411b7a10"/>
</p:tagLst>
</file>

<file path=ppt/tags/tag105.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cBAQEBAQEBAQEBAQEBAQMAAAAAAAAAAwAAAAMAAAAA/////wUAzgsAAAAAAAAAAAAAIAD///////////////8AAAD///////////////8DAAAABAD///////8DAAAAAwD///////8DAAAAAwD///////8DAAAAAwD///////8DAAAAAwD///////8DAAAAAwD///////8DAAAAAwD///////////////////////////////////////////////////////////////////////////////////////////////////////////////////////////////////////////////////////////////////////////////////////////////////////////////////////////////////////////////////////////////////////////////////////////////////////////////////////////////////////////////////////////////////////////////////////////////////////////////8BACAA////////////////AAAO////////AwAAAAMA////////////////////////////////////////////////////////////////////////////////////////////////////////////////////////////////////////////////////////////////////////////////////////////////////////////////////////////////////////////////////////////////////////////////////////////////////////////////////////////////////////////////////////////////////////////////////////////////////////////////////////////////////////////////////////////////////////////////////////////////////////////////////////AgABAP///////wUAAAACABAAC1mgXrVyyOVImq2T5utmWwUEAAAAAAADAAAABAADAAAAAwADAAcA////////BQAAAAMAEAALemMVzw+/eUSc9gjJb82ypgQAAAABAAMAAAACAAMAAAABAAMAAAAAAP///////wMAAAAAAP///////wMAAAAAAP///////wMAAAAAAP///////wMAAAAAAP///////wMAAAAAAP///////wQAAQD///////8FAAAABAAQAAuvR42NCqL8TpCc7bfMqX98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aBetXLI5UiarZPm62ZbBQREYXRhAAUAAAAAAk5hbWUADQAAAExpbmtEYXRhTGlzdAAQVmVyc2lvbgAAAAAACUxhc3RXcml0ZQD7n7DCkQEAAAABAP////9hAGEAAAAFX2lkABAAAAAEemMVzw+/eUSc9gjJb82ypgREYXRhAAUAAAAAAk5hbWUADQAAAExpbmtEYXRhTGlzdAAQVmVyc2lvbgABAAAACUxhc3RXcml0ZQD7n7DCkQEAAAACAP////9wAHAAAAAFX2lkABAAAAAEr0eNjQqi/E6QnO23zKl/fANEYXRhABYAAAACUGVyc29uYWxJZAABAAAAAAACTmFtZQALAAAAUGVyc29uYWxJZAAQVmVyc2lvbgAAAAAACUxhc3RXcml0ZQAQoLD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DAP///////wUAAAADAP///////wUAAAADAP///////wUAAAADAP///////wUAAAADAP///////wUAAAADAP///////////////////////////////////////////////////////////////////////////////////////////////////////////////////////////////////////////////////////////////////////////////////////////////////////////////////////////////////////////////////////////////////////////////////////////////////////////////////////////////////////////////////////////////////////////////////////////////////////////////wEAIAH///////////////8AAA7///////8FAAAABAD///////////////////////////////////////////////////////////////////////////////////////////////////////////////////////////////////////////////////////////////////////////////////////////////////////////////////////////////////////////////////////////////////////////////////////////////////////////////////////////////////////////////////////////////////////////////////////////////////////////////////////////////////////////////////////////////////////////////////////////////////////////////////////8CAAEBAwAAAAIA////////DgAGTGlua0RhdGFMaXN0XzAEAAAAAAAFAAAAAAAFAAAAAwADAAcBAwAAAAMA////////DgAGTGlua0RhdGFMaXN0XzEEAAAAAQAFAAAAAgAFAAAABAAFAAAAAAD///////8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1450409309303"/>
  <p:tag name="EMPOWERCHARTSPROPERTIES_SLOT" val="B"/>
  <p:tag name="RUNTIME_ID" val="ebbac9f0-cd14-48b3-b7d2-689209bb627f"/>
</p:tagLst>
</file>

<file path=ppt/tags/tag106.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CgwAAAAAAAAAAAAAIAD///////////////8AAAD///////////////8DAAAABAD///////8DAAAAAgD///////////////////////////////////////////////////////////////////////////////////////////////////////////////////////////////////////////////////////////////////////////////////////////////////////////////////////////////////////////////////////////////////////////////////////////////////////////////////////////////////////////////////////////////////////////////////////////////////////////////////////////////////////////////////////////////////////////////////////////////8BACAA////////////////AAAO////////AwAAAAMA////////////////////////////////////////////////////////////////////////////////////////////////////////////////////////////////////////////////////////////////////////////////////////////////////////////////////////////////////////////////////////////////////////////////////////////////////////////////////////////////////////////////////////////////////////////////////////////////////////////////////////////////////////////////////////////////////////////////////////////////////////////////////////AgACAP///////wUAAAACABAAC3g9HHTGKtdKm/Id9NZ7ZlAEAAAAAAADAAAABAADAAAAAwADAAAAAAD///////8DAAEA////////BQAAAAMAEAALr9a1pgEng0ScUKIqjlPJWgQAAAABAAMAAAACAAMAAAABAAQAAQD///////8FAAAABAAQAAsq2ZApTwxLSoFghhM3s8J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D0cdMYq10qb8h301ntmUAREYXRhAAUAAAAAAk5hbWUADQAAAExpbmtEYXRhTGlzdAAQVmVyc2lvbgAAAAAACUxhc3RXcml0ZQAzoLDCkQEAAAABAP////9hAGEAAAAFX2lkABAAAAAEr9a1pgEng0ScUKIqjlPJWgREYXRhAAUAAAAAAk5hbWUADQAAAExpbmtEYXRhTGlzdAAQVmVyc2lvbgABAAAACUxhc3RXcml0ZQA0oLDCkQEAAAACAP////9wAHAAAAAFX2lkABAAAAAEKtmQKU8MS0qBYIYTN7PCXQNEYXRhABYAAAACUGVyc29uYWxJZAABAAAAAAACTmFtZQALAAAAUGVyc29uYWxJZAAQVmVyc2lvbgAAAAAACUxhc3RXcml0ZQBHoLD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EAP///////wUAAAAEAP///////////////////////////////////////////////////////////////////////////////////////////////////////////////////////////////////////////////////////////////////////////////////////////////////////////////////////////////////////////////////////////////////////////////////////////////////////////////////////////////////////////////////////////////////////////////////////////////////////////////////////////////////////////////////////////////wEAIAH///////////////8AAA7///////8FAAAABAD///////////////////////////////////////////////////////////////////////////////////////////////////////////////////////////////////////////////////////////////////////////////////////////////////////////////////////////////////////////////////////////////////////////////////////////////////////////////////////////////////////////////////////////////////////////////////////////////////////////////////////////////////////////////////////////////////////////////////////////////////////////////////////8CAAIBAwAAAAIA////////DgAGTGlua0RhdGFMaXN0XzAEAAAAAAAFAAAAAAAFAAAAAwAFAAAAAAAFAAAABAADAAEBAwAAAAMA////////DgAGTGlua0RhdGFMaXN0XzEEAAAAAQAFAAAAAgAFAAAABAAEAAQBAwAAAAQA////////DAAGUGVyc29uYWxJZF8wBAAAAAIABQAAAAMABQAAAAEABQAAAAI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1450409872419"/>
  <p:tag name="EMPOWERCHARTSPROPERTIES_SLOT" val="B"/>
  <p:tag name="RUNTIME_ID" val="25749b67-ce33-4c89-aa02-9004d2e99d84"/>
</p:tagLst>
</file>

<file path=ppt/tags/tag107.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EBAQEBAQEBAQEBAQEBAQMAAAAAAAAAAwAAAAMAAAAA/////wUAwgsAAAAAAAAAAAAAIAD///////////////8AAAD///////////////8DAAAAAgD///////8DAAAABAD///////8DAAAABAD///////8DAAAABAD///////8DAAAABAD///////8DAAAABAD///////8DAAAABAD///////8DAAAABAD///////////////////////////////////////////////////////////////////////////////////////////////////////////////////////////////////////////////////////////////////////////////////////////////////////////////////////////////////////////////////////////////////////////////////////////////////////////////////////////////////////////////////////////////////////////////////////////////8BACAA////////////////AAAO////////AwAAAAMA////////////////////////////////////////////////////////////////////////////////////////////////////////////////////////////////////////////////////////////////////////////////////////////////////////////////////////////////////////////////////////////////////////////////////////////////////////////////////////////////////////////////////////////////////////////////////////////////////////////////////////////////////////////////////////////////////////////////////////////////////////////////////////AgABAP///////wUAAAACABAAC441NQgAHf5LhXSEzsVzuEIEAAAAAAADAAAAAAADAAAABAADAAEA////////BQAAAAMAEAALN/qY06+gukqWg02STogMJQQAAAABAAMAAAAEAAMAAAABAAQACAD///////8FAAAABAAQAAuW+/teojBiRJNSAfHiWdHJBAAAAAIAAwAAAAIAAwAAAAMAAwAAAAAA////////AwAAAAA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jU1CAAd/kuFdITOxXO4QgREYXRhAAUAAAAAAk5hbWUADQAAAExpbmtEYXRhTGlzdAAQVmVyc2lvbgABAAAACUxhc3RXcml0ZQBuoLDCkQEAAAABAP////9hAGEAAAAFX2lkABAAAAAEN/qY06+gukqWg02STogMJQREYXRhAAUAAAAAAk5hbWUADQAAAExpbmtEYXRhTGlzdAAQVmVyc2lvbgAAAAAACUxhc3RXcml0ZQBuoLDCkQEAAAACAP////9wAHAAAAAFX2lkABAAAAAElvv7XqIwYkSTUgHx4lnRyQNEYXRhABYAAAACUGVyc29uYWxJZAABAAAAAAACTmFtZQALAAAAUGVyc29uYWxJZAAQVmVyc2lvbgAAAAAACUxhc3RXcml0ZQCKoLD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1450410535393"/>
  <p:tag name="EMPOWERCHARTSPROPERTIES_SLOT" val="B"/>
  <p:tag name="RUNTIME_ID" val="3f56de23-53f2-4403-806f-fbfbfa8ee558"/>
</p:tagLst>
</file>

<file path=ppt/tags/tag108.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wD///////////////////////////////////////////////////////////////////////////////////////////////////////////////////////////////////////////////////////////////////////////////////////////////////////////////////////////////////////////////////////////////////////////////////////////////////////////////////////////////////////////////////////////////////////////////////////////////////////////////////////////////////////////////////////////////////////////////////////////////8BACAA////////////////AAAO////////AwAAAAMA////////////////////////////////////////////////////////////////////////////////////////////////////////////////////////////////////////////////////////////////////////////////////////////////////////////////////////////////////////////////////////////////////////////////////////////////////////////////////////////////////////////////////////////////////////////////////////////////////////////////////////////////////////////////////////////////////////////////////////////////////////////////////////AgABAP///////wUAAAACABAAC5bbxtNauqRIuZAr/LXhEC4EAAAAAAADAAAABAADAAAAAwADAAIA////////BQAAAAMAEAALGAIL7CcA30ixe99ci+dRsQQAAAABAAMAAAACAAMAAAABAAMAAAAAAP///////wQAAQD///////8FAAAABAAQAAvxpgW0PdbVQZbCC2/olFke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tvG01q6pEi5kCv8teEQLgREYXRhAAUAAAAAAk5hbWUADQAAAExpbmtEYXRhTGlzdAAQVmVyc2lvbgABAAAACUxhc3RXcml0ZQCwoLDCkQEAAAABAP////9hAGEAAAAFX2lkABAAAAAEGAIL7CcA30ixe99ci+dRsQREYXRhAAUAAAAAAk5hbWUADQAAAExpbmtEYXRhTGlzdAAQVmVyc2lvbgAAAAAACUxhc3RXcml0ZQCvoLDCkQEAAAACAP////9wAHAAAAAFX2lkABAAAAAE8aYFtD3W1UGWwgtv6JRZHgNEYXRhABYAAAACUGVyc29uYWxJZAABAAAAAAACTmFtZQALAAAAUGVyc29uYWxJZAAQVmVyc2lvbgAAAAAACUxhc3RXcml0ZQDFoLD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EBAwAAAAIA////////DgAGTGlua0RhdGFMaXN0XzEEAAAAAAAFAAAAAwAFAAAABAADAAIBAwAAAAMA////////DgAGTGlua0RhdGFMaXN0XzAEAAAAAQAFAAAAAAAFAAAAAgAFAAAAAAAFAAAABAA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1450411130199"/>
  <p:tag name="EMPOWERCHARTSPROPERTIES_SLOT" val="B"/>
  <p:tag name="RUNTIME_ID" val="c62b4845-b4c7-40ba-abb7-54dce7d39048"/>
</p:tagLst>
</file>

<file path=ppt/tags/tag109.xml><?xml version="1.0" encoding="utf-8"?>
<p:tagLst xmlns:a="http://schemas.openxmlformats.org/drawingml/2006/main" xmlns:r="http://schemas.openxmlformats.org/officeDocument/2006/relationships" xmlns:p="http://schemas.openxmlformats.org/presentationml/2006/main">
  <p:tag name="MIO_CONTENTTAG" val="82tpK3ahuE2vJ6jPFLmA8dVx4QYpDhlAj5hIjXn2XTs="/>
  <p:tag name="MIO_DBID" val="b8fcb12d-af03-49eb-9f79-bb019be99e1e"/>
  <p:tag name="MIO_EKGUID" val="d0fc60a6-09c0-4c3d-9c18-866b0bb01b67"/>
  <p:tag name="MIO_GUID" val="96e124a4-bea9-4017-8c42-65ec5dbe2a84"/>
  <p:tag name="MIO_LASTDOWNLOADED" val="06.09.2024 08:43:16"/>
  <p:tag name="MIO_LASTEDITORNAME" val="Georgina DEMO"/>
  <p:tag name="MIO_OBJECTNAME" val="Tool overview – quick access pane &amp; layout tools sidebar"/>
  <p:tag name="MIO_UPDATE" val="True"/>
  <p:tag name="MIO_VERSION" val="05.09.2024 19:30:10"/>
</p:tagLst>
</file>

<file path=ppt/tags/tag1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0.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tgsAAAAAAAAAAAAAIAD///////////////8AAAD///////////////8DAAAABAD///////8DAAAABAD///////8DAAAABAD///////8DAAAAAgD///////////////////////////////////////////////////////////////////////////////////////////////////////////////////////////////////////////////////////////////////////////////////////////////////////////////////////////////////////////////////////////////////////////////////////////////////////////////////////////////////////////////////////////////////////////////////////////////////////////////////////////////////////////////////////////////8BACAA////////////////AAAO////////AwAAAAMA////////////////////////////////////////////////////////////////////////////////////////////////////////////////////////////////////////////////////////////////////////////////////////////////////////////////////////////////////////////////////////////////////////////////////////////////////////////////////////////////////////////////////////////////////////////////////////////////////////////////////////////////////////////////////////////////////////////////////////////////////////////////////////AgAEAP///////wUAAAACABAAC6nNgNBlcWROvr4IfN/JzxIEAAAAAAADAAAABAADAAAAAwADAAAABAADAAAAAwADAAAABAADAAAAAwADAAAAAAADAAAAAwADAAQA////////BQAAAAMAEAALrJlU9ibV6kqWbd3OrcsgfQQAAAABAAMAAAACAAMAAAABAAMAAAACAP///////wMAAAACAP///////wMAAAACAP///////wQAAwD///////8FAAAABAAQAAs7xhh5JjRhQYwdhYyeUKnoBAAAAAIAAwAAAAAAAw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c2A0GVxZE6+vgh838nPEgREYXRhAAUAAAAAAk5hbWUADQAAAExpbmtEYXRhTGlzdAAQVmVyc2lvbgAAAAAACUxhc3RXcml0ZQCO9Sa+kQEAAAABAP////9hAGEAAAAFX2lkABAAAAAErJlU9ibV6kqWbd3OrcsgfQREYXRhAAUAAAAAAk5hbWUADQAAAExpbmtEYXRhTGlzdAAQVmVyc2lvbgABAAAACUxhc3RXcml0ZQCQ9Sa+kQEAAAACAP////9wAHAAAAAFX2lkABAAAAAEO8YYeSY0YUGMHYWMnlCp6ANEYXRhABYAAAACUGVyc29uYWxJZAABAAAAAAACTmFtZQALAAAAUGVyc29uYWxJZAAQVmVyc2lvbgAAAAAACUxhc3RXcml0ZQCy9S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CAP///////wUAAAACAP///////////////////////////////////////////////////////////////////////////////////////////////////////////////////////////////////////////////////////////////////////////////////////////////////////////////////////////////////////////////////////////////////////////////////////////////////////////////////////////////////////////////////////////////////////////////////////////////////////////////////////////////////////////////////////////////wEAIAH///////////////8AAA7///////8FAAAABAD///////////////////////////////////////////////////////////////////////////////////////////////////////////////////////////////////////////////////////////////////////////////////////////////////////////////////////////////////////////////////////////////////////////////////////////////////////////////////////////////////////////////////////////////////////////////////////////////////////////////////////////////////////////////////////////////////////////////////////////////////////////////////////8CAAQBAwAAAAIA////////DgAGTGlua0RhdGFMaXN0XzAEAAAAAAAFAAAAAAAFAAAAAwAFAAAAAAAFAAAAAwAFAAAAAAAFAAAAAwAFAAAAAAAFAAAAAwADAAQBAwAAAAMA////////DgAGTGlua0RhdGFMaXN0XzEEAAAAAQAFAAAAAgAFAAAABAAFAAAAAgD///////8FAAAAAgD///////8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00245151"/>
  <p:tag name="EMPOWERCHARTSPROPERTIES_SLOT" val="B"/>
  <p:tag name="RUNTIME_ID" val="4f6cf785-0b5f-497a-9768-02c2967dec77"/>
</p:tagLst>
</file>

<file path=ppt/tags/tag111.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wgsAAAAAAAAAAAAAIAD///////////////8AAAD///////////////8DAAAAAgD///////8DAAAAAgD///////8DAAAAAgD///////8DAAAAAgD///////////////////////////////////////////////////////////////////////////////////////////////////////////////////////////////////////////////////////////////////////////////////////////////////////////////////////////////////////////////////////////////////////////////////////////////////////////////////////////////////////////////////////////////////////////////////////////////////////////////////////////////////////////////////////////////8BACAA////////////////AAAO////////AwAAAAQA////////////////////////////////////////////////////////////////////////////////////////////////////////////////////////////////////////////////////////////////////////////////////////////////////////////////////////////////////////////////////////////////////////////////////////////////////////////////////////////////////////////////////////////////////////////////////////////////////////////////////////////////////////////////////////////////////////////////////////////////////////////////////////AgAEAP///////wUAAAACABAAC92bIQo3VeVHpoc2CAcgjMcEAAAAAAADAAAAAAADAAAAAwADAAAAAAADAAAAAwADAAAAAAADAAAABAADAAAAAAADAAAABAADAAIA////////BQAAAAMAEAALYcniCh8hpkehLivVwIgkkQQAAAABAAMAAAACAAMAAAAEAAMAAAACAAMAAAAEAAQABAD///////8FAAAABAAQAAtoYuSf7Vd7R5Sx6Toemj58BAAAAAIAAwAAAAMAAwAAAAEAAwAAAAMA////////AwAAAAI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ZshCjdV5UemhzYIByCMxwREYXRhAAUAAAAAAk5hbWUADQAAAExpbmtEYXRhTGlzdAAQVmVyc2lvbgABAAAACUxhc3RXcml0ZQDu9Sa+kQEAAAABAP////9hAGEAAAAFX2lkABAAAAAEYcniCh8hpkehLivVwIgkkQREYXRhAAUAAAAAAk5hbWUADQAAAExpbmtEYXRhTGlzdAAQVmVyc2lvbgAAAAAACUxhc3RXcml0ZQDt9Sa+kQEAAAACAP////9wAHAAAAAFX2lkABAAAAAEaGLkn+1Xe0eUsek6Hpo+fANEYXRhABYAAAACUGVyc29uYWxJZAABAAAAAAACTmFtZQALAAAAUGVyc29uYWxJZAAQVmVyc2lvbgAAAAAACUxhc3RXcml0ZQAF9i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CAP///////wUAAAACAP///////////////////////////////////////////////////////////////////////////////////////////////////////////////////////////////////////////////////////////////////////////////////////////////////////////////////////////////////////////////////////////////////////////////////////////////////////////////////////////////////////////////////////////////////////////////////////////////////////////////////////////////////////////////////////////////wEAIAH///////////////8AAA7///////8FAAAABAD///////////////////////////////////////////////////////////////////////////////////////////////////////////////////////////////////////////////////////////////////////////////////////////////////////////////////////////////////////////////////////////////////////////////////////////////////////////////////////////////////////////////////////////////////////////////////////////////////////////////////////////////////////////////////////////////////////////////////////////////////////////////////////8CAAQBAwAAAAIA////////DgAGTGlua0RhdGFMaXN0XzEEAAAAAAAFAAAAAwAFAAAABAAFAAAAAwAFAAAABAAFAAAAAAD///////8FAAAAAAD///////8DAAIBAwAAAAMA////////DgAGTGlua0RhdGFMaXN0XzAEAAAAAQAFAAAAAAAFAAAAAg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01043325"/>
  <p:tag name="EMPOWERCHARTSPROPERTIES_SLOT" val="B"/>
  <p:tag name="RUNTIME_ID" val="3aaf0689-29e4-48e6-8e0f-e8303b91a5de"/>
</p:tagLst>
</file>

<file path=ppt/tags/tag112.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gBAQEBAQEBAQEBAQEBAQMAAAAAAAAAAwAAAAMAAAAA/////wUAqgsAAAAAAAAAAAAAIAD///////////////8AAAD///////////////8DAAAAAgD///////8DAAAABAD///////8DAAAABAD///////8DAAAAAwD///////8DAAAAAwD///////8DAAAAAwD///////8DAAAAAwD///////8DAAAAAwD///////////////////////////////////////////////////////////////////////////////////////////////////////////////////////////////////////////////////////////////////////////////////////////////////////////////////////////////////////////////////////////////////////////////////////////////////////////////////////////////////////////////////////////////////////////////////////////////8BACAA////////////////AAAO////////AwAAAAMA////////////////////////////////////////////////////////////////////////////////////////////////////////////////////////////////////////////////////////////////////////////////////////////////////////////////////////////////////////////////////////////////////////////////////////////////////////////////////////////////////////////////////////////////////////////////////////////////////////////////////////////////////////////////////////////////////////////////////////////////////////////////////////AgABAP///////wUAAAACABAAC4eeLB9uTPNKqBIERc9yXMsEAAAAAAADAAAAAAADAAAABAADAAgA////////BQAAAAMAEAAL6prD/aw1KUKOrm6hYlSoJgQAAAABAAMAAAAEAAMAAAABAAMAAAAEAP///////wMAAAAEAP///////wMAAAAAAP///////wMAAAAAAP///////wMAAAAAAP///////wMAAAAAAP///////wMAAAAAAP///////wQAAwD///////8FAAAABAAQAAsEM4LgelvNS4pWmh7PpfqJ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54sH25M80qoEgRFz3JcywREYXRhAAUAAAAAAk5hbWUADQAAAExpbmtEYXRhTGlzdAAQVmVyc2lvbgABAAAACUxhc3RXcml0ZQA89ia+kQEAAAABAP////9hAGEAAAAFX2lkABAAAAAE6prD/aw1KUKOrm6hYlSoJgREYXRhAAUAAAAAAk5hbWUADQAAAExpbmtEYXRhTGlzdAAQVmVyc2lvbgAAAAAACUxhc3RXcml0ZQA89ia+kQEAAAACAP////9wAHAAAAAFX2lkABAAAAAEBDOC4HpbzUuKVpoez6X6iQNEYXRhABYAAAACUGVyc29uYWxJZAABAAAAAAACTmFtZQALAAAAUGVyc29uYWxJZAAQVmVyc2lvbgAAAAAACUxhc3RXcml0ZQBq9i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mCwAAAAAAAAAAAAAgAf///////////////wAAAP///////////////wUAAAADAP///////wUAAAADAP///////wUAAAADAP///////wUAAAADAP///////wUAAAADAP///////wUAAAADAP///////wUAAAADAP///////wUAAAADAP///////////////////////////////////////////////////////////////////////////////////////////////////////////////////////////////////////////////////////////////////////////////////////////////////////////////////////////////////////////////////////////////////////////////////////////////////////////////////////////////////////////////////////////////////////////////////////////////wEAIAH///////////////8AAA7///////8FAAAABAD///////////////////////////////////////////////////////////////////////////////////////////////////////////////////////////////////////////////////////////////////////////////////////////////////////////////////////////////////////////////////////////////////////////////////////////////////////////////////////////////////////////////////////////////////////////////////////////////////////////////////////////////////////////////////////////////////////////////////////////////////////////////////////8CAAEBAwAAAAIA////////DgAGTGlua0RhdGFMaXN0XzEEAAAAAAAFAAAAAwAFAAAABAADAAgBAwAAAAMA////////DgAGTGlua0RhdGFMaXN0XzAEAAAAAQAFAAAAAAAFAAAAAgAFAAAAAAAFAAAABAAFAAAAAAAFAAAABAAFAAAAAAAFAAAABAAFAAAAAAD///////8FAAAAAAD///////8FAAAAAAD///////8FAAAAAAD///////8EAAQBAwAAAAQA////////DAAGUGVyc29uYWxJZF8wBAAAAAIABQAAAAIABQAAAAEABQAAAAM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02071386"/>
  <p:tag name="EMPOWERCHARTSPROPERTIES_SLOT" val="B"/>
  <p:tag name="RUNTIME_ID" val="14c36038-5db7-4753-a3e6-97ddd28d5414"/>
</p:tagLst>
</file>

<file path=ppt/tags/tag113.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wsBAQEBAQEBAQEBAQEBAQMAAAAAAAAAAwAAAAMAAAAA/////wUAngsAAAAAAAAAAAAAIAD///////////////8AAAD///////////////8DAAAAAgD///////8DAAAAAwD///////8DAAAAAwD///////8DAAAAAwD///////8DAAAAAwD///////8DAAAAAwD///////8DAAAAAwD///////8DAAAAAwD///////8DAAAAAwD///////8DAAAAAwD///////8DAAAAAwD///////////////////////////////////////////////////////////////////////////////////////////////////////////////////////////////////////////////////////////////////////////////////////////////////////////////////////////////////////////////////////////////////////////////////////////////////////////////////////////////////////////////8BACAA////////////////AAAO////////AwAAAAQA////////////////////////////////////////////////////////////////////////////////////////////////////////////////////////////////////////////////////////////////////////////////////////////////////////////////////////////////////////////////////////////////////////////////////////////////////////////////////////////////////////////////////////////////////////////////////////////////////////////////////////////////////////////////////////////////////////////////////////////////////////////////////////AgABAP///////wUAAAACABAAC0GpgZ51E0VHgUXb+cNO05oEAAAAAAADAAAAAAADAAAAAwADAAsA////////BQAAAAMAEAALckAguiT/nkG6X+jkiXA5yAQAAAABAAMAAAACAAMAAAAEAAMAAAAAAP///////wMAAAAAAP///////wMAAAAAAP///////wMAAAAAAP///////wMAAAAAAP///////wMAAAAAAP///////wMAAAAAAP///////wMAAAAAAP///////wMAAAAAAP///////wMAAAAAAP///////wQAAQD///////8FAAAABAAQAAt6lcD03a0CSbbbGH5Btwm6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amBnnUTRUeBRdv5w07TmgREYXRhAAUAAAAAAk5hbWUADQAAAExpbmtEYXRhTGlzdAAQVmVyc2lvbgABAAAACUxhc3RXcml0ZQCV9ia+kQEAAAABAP////9hAGEAAAAFX2lkABAAAAAEckAguiT/nkG6X+jkiXA5yAREYXRhAAUAAAAAAk5hbWUADQAAAExpbmtEYXRhTGlzdAAQVmVyc2lvbgAAAAAACUxhc3RXcml0ZQCR9ia+kQEAAAACAP////9wAHAAAAAFX2lkABAAAAAEepXA9N2tAkm22xh+QbcJugNEYXRhABYAAAACUGVyc29uYWxJZAABAAAAAAACTmFtZQALAAAAUGVyc29uYWxJZAAQVmVyc2lvbgAAAAAACUxhc3RXcml0ZQCx9i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mCwAAAAAAAAAAAAAgAf///////////////wAAAP///////////////wUAAAADAP///////wUAAAADAP///////wUAAAADAP///////wUAAAADAP///////wUAAAADAP///////wUAAAADAP///////wUAAAADAP///////wUAAAADAP///////wUAAAADAP///////wUAAAADAP///////wUAAAADAP///////////////////////////////////////////////////////////////////////////////////////////////////////////////////////////////////////////////////////////////////////////////////////////////////////////////////////////////////////////////////////////////////////////////////////////////////////////////////////////////////////////////wEAIAH///////////////8AAA7///////8FAAAABAD///////////////////////////////////////////////////////////////////////////////////////////////////////////////////////////////////////////////////////////////////////////////////////////////////////////////////////////////////////////////////////////////////////////////////////////////////////////////////////////////////////////////////////////////////////////////////////////////////////////////////////////////////////////////////////////////////////////////////////////////////////////////////////8CAAEBAwAAAAIA////////DgAGTGlua0RhdGFMaXN0XzEEAAAAAAAFAAAAAwAFAAAABAADAAsBAwAAAAMA////////DgAGTGlua0RhdGFMaXN0XzAEAAAAAQAFAAAAAAAFAAAAAgAFAAAAAAD///////8FAAAAAAD///////8FAAAAAAD///////8FAAAAAAD///////8FAAAAAAD///////8FAAAAAAD///////8FAAAAAAD///////8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02786187"/>
  <p:tag name="EMPOWERCHARTSPROPERTIES_SLOT" val="B"/>
  <p:tag name="RUNTIME_ID" val="4ddbefc0-3c1b-4448-972d-04e91e0cb1c2"/>
</p:tagLst>
</file>

<file path=ppt/tags/tag114.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2gsAAAAAAAAAAAAAIAD///////////////8AAAD///////////////8DAAAAAgD///////8DAAAAAwD///////8DAAAAAwD///////8DAAAAAwD///////8DAAAAAwD///////////////////////////////////////////////////////////////////////////////////////////////////////////////////////////////////////////////////////////////////////////////////////////////////////////////////////////////////////////////////////////////////////////////////////////////////////////////////////////////////////////////////////////////////////////////////////////////////////////////////////////////////////////////8BACAA////////////////AAAO////////AwAAAAQA////////////////////////////////////////////////////////////////////////////////////////////////////////////////////////////////////////////////////////////////////////////////////////////////////////////////////////////////////////////////////////////////////////////////////////////////////////////////////////////////////////////////////////////////////////////////////////////////////////////////////////////////////////////////////////////////////////////////////////////////////////////////////////AgABAP///////wUAAAACABAAC0GNM7aCFhlAvear7697gcgEAAAAAAADAAAAAAADAAAAAwADAAUA////////BQAAAAMAEAALRK/67HIFXEiHA0eWRwMkXQQAAAABAAMAAAACAAMAAAAEAAMAAAAAAAMAAAAEAAMAAAAAAP///////wMAAAAAAP///////wMAAAAAAP///////wQAAgD///////8FAAAABAAQAAvyo8LuPgBSSbDus49rFF1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Y0ztoIWGUC95qvvr3uByAREYXRhAAUAAAAAAk5hbWUADQAAAExpbmtEYXRhTGlzdAAQVmVyc2lvbgAAAAAACUxhc3RXcml0ZQDf9ia+kQEAAAABAP////9hAGEAAAAFX2lkABAAAAAERK/67HIFXEiHA0eWRwMkXQREYXRhAAUAAAAAAk5hbWUADQAAAExpbmtEYXRhTGlzdAAQVmVyc2lvbgABAAAACUxhc3RXcml0ZQDh9ia+kQEAAAACAP////9wAHAAAAAFX2lkABAAAAAE8qPC7j4AUkmw7rOPaxRdSANEYXRhABYAAAACUGVyc29uYWxJZAABAAAAAAACTmFtZQALAAAAUGVyc29uYWxJZAAQVmVyc2lvbgAAAAAACUxhc3RXcml0ZQD39i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DAP///////wUAAAADAP///////wUAAAADAP///////wUAAAADAP///////////////////////////////////////////////////////////////////////////////////////////////////////////////////////////////////////////////////////////////////////////////////////////////////////////////////////////////////////////////////////////////////////////////////////////////////////////////////////////////////////////////////////////////////////////////////////////////////////////////////////////////////////////////wEAIAH///////////////8AAA7///////8FAAAABAD///////////////////////////////////////////////////////////////////////////////////////////////////////////////////////////////////////////////////////////////////////////////////////////////////////////////////////////////////////////////////////////////////////////////////////////////////////////////////////////////////////////////////////////////////////////////////////////////////////////////////////////////////////////////////////////////////////////////////////////////////////////////////////8CAAEBAwAAAAIA////////DgAGTGlua0RhdGFMaXN0XzAEAAAAAAAFAAAAAAAFAAAAAwADAAUBAwAAAAMA////////DgAGTGlua0RhdGFMaXN0XzEEAAAAAQAFAAAAAgAFAAAABAA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03490183"/>
  <p:tag name="EMPOWERCHARTSPROPERTIES_SLOT" val="B"/>
  <p:tag name="RUNTIME_ID" val="c06749a5-c847-40fb-8d31-34c6ad533b90"/>
</p:tagLst>
</file>

<file path=ppt/tags/tag115.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AgD///////8DAAAAAwD///////////////////////////////////////////////////////////////////////////////////////////////////////////////////////////////////////////////////////////////////////////////////////////////////////////////////////////////////////////////////////////////////////////////////////////////////////////////////////////////////////////////////////////////////////////////////////////////////////////////////////////////////////////////////////////////////////////////8BACAA////////////////AAAO////////AwAAAAMA////////////////////////////////////////////////////////////////////////////////////////////////////////////////////////////////////////////////////////////////////////////////////////////////////////////////////////////////////////////////////////////////////////////////////////////////////////////////////////////////////////////////////////////////////////////////////////////////////////////////////////////////////////////////////////////////////////////////////////////////////////////////////////AgACAP///////wUAAAACABAAC82AqD/w7KdCr5/CIAG+e0kEAAAAAAADAAAABAADAAAAAwADAAAAAAADAAAAAwADAAMA////////BQAAAAMAEAALBxcgn112bEibAp6YyavfmwQAAAABAAMAAAACAAMAAAABAAMAAAACAP///////wMAAAAAAP///////wQAAQD///////8FAAAABAAQAAt4xV4/Ths2TLW59wUP7NLv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YCoP/Dsp0Kvn8IgAb57SQREYXRhAAUAAAAAAk5hbWUADQAAAExpbmtEYXRhTGlzdAAQVmVyc2lvbgAAAAAACUxhc3RXcml0ZQAd9ya+kQEAAAABAP////9hAGEAAAAFX2lkABAAAAAEBxcgn112bEibAp6YyavfmwREYXRhAAUAAAAAAk5hbWUADQAAAExpbmtEYXRhTGlzdAAQVmVyc2lvbgABAAAACUxhc3RXcml0ZQAg9ya+kQEAAAACAP////9wAHAAAAAFX2lkABAAAAAEeMVeP04bNky1ufcFD+zS7wNEYXRhABYAAAACUGVyc29uYWxJZAABAAAAAAACTmFtZQALAAAAUGVyc29uYWxJZAAQVmVyc2lvbgAAAAAACUxhc3RXcml0ZQA29y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DAP///////////////////////////////////////////////////////////////////////////////////////////////////////////////////////////////////////////////////////////////////////////////////////////////////////////////////////////////////////////////////////////////////////////////////////////////////////////////////////////////////////////////////////////////////////////////////////////////////////////////////////////////////////////////////////////////////////////////wEAIAH///////////////8AAA7///////8FAAAABAD///////////////////////////////////////////////////////////////////////////////////////////////////////////////////////////////////////////////////////////////////////////////////////////////////////////////////////////////////////////////////////////////////////////////////////////////////////////////////////////////////////////////////////////////////////////////////////////////////////////////////////////////////////////////////////////////////////////////////////////////////////////////////////8CAAIBAwAAAAIA////////DgAGTGlua0RhdGFMaXN0XzAEAAAAAAAFAAAAAAAFAAAAAwAFAAAAAAAFAAAAAwADAAMBAwAAAAMA////////DgAGTGlua0RhdGFMaXN0XzEEAAAAAQAFAAAAAgAFAAAABAAFAAAAAgAFAAAABAAFAAAAAAAFAAAABAAEAAMBAwAAAAQA////////DAAGUGVyc29uYWxJZF8wBAAAAAIABQAAAAM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04152109"/>
  <p:tag name="EMPOWERCHARTSPROPERTIES_SLOT" val="B"/>
  <p:tag name="RUNTIME_ID" val="2a21c0d1-3d70-490c-a3ab-34648068cf80"/>
</p:tagLst>
</file>

<file path=ppt/tags/tag116.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BAD///////8DAAAABAD///////8DAAAABAD///////8DAAAABAD///////////////////////////////////////////////////////////////////////////////////////////////////////////////////////////////////////////////////////////////////////////////////////////////////////////////////////////////////////////////////////////////////////////////////////////////////////////////////////////////////////////////////////////////////////////////////////////////////////////////////////////////////////////////////////////////8BACAA////////////////AAAO////////AwAAAAMA////////////////////////////////////////////////////////////////////////////////////////////////////////////////////////////////////////////////////////////////////////////////////////////////////////////////////////////////////////////////////////////////////////////////////////////////////////////////////////////////////////////////////////////////////////////////////////////////////////////////////////////////////////////////////////////////////////////////////////////////////////////////////////AgAEAP///////wUAAAACABAAC6VTk0pQ085Nt7b6kRtTdaQEAAAAAAADAAAABAADAAAAAwADAAAABAD///////8DAAAABAD///////8DAAAABAD///////8DAAEA////////BQAAAAMAEAALr8K+7T/4r0eQNJLQTJtMVwQAAAABAAMAAAACAAMAAAABAAQABAD///////8FAAAABAAQAAs5gh0qQmgZTJI82YhBBT07BAAAAAIAAwAAAAAAAwAAAAIAAwAAAAAAAw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VOTSlDTzk23tvqRG1N1pAREYXRhAAUAAAAAAk5hbWUADQAAAExpbmtEYXRhTGlzdAAQVmVyc2lvbgABAAAACUxhc3RXcml0ZQBn9ya+kQEAAAABAP////9hAGEAAAAFX2lkABAAAAAEr8K+7T/4r0eQNJLQTJtMVwREYXRhAAUAAAAAAk5hbWUADQAAAExpbmtEYXRhTGlzdAAQVmVyc2lvbgAAAAAACUxhc3RXcml0ZQBj9ya+kQEAAAACAP////9wAHAAAAAFX2lkABAAAAAEOYIdKkJoGUySPNmIQQU9OwNEYXRhABYAAAACUGVyc29uYWxJZAABAAAAAAACTmFtZQALAAAAUGVyc29uYWxJZAAQVmVyc2lvbgAAAAAACUxhc3RXcml0ZQB89y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04797548"/>
  <p:tag name="EMPOWERCHARTSPROPERTIES_SLOT" val="B"/>
  <p:tag name="RUNTIME_ID" val="de3e5061-a9f4-448b-8f21-74c8e6199310"/>
</p:tagLst>
</file>

<file path=ppt/tags/tag117.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AgD///////8DAAAAAwD///////////////////////////////////////////////////////////////////////////////////////////////////////////////////////////////////////////////////////////////////////////////////////////////////////////////////////////////////////////////////////////////////////////////////////////////////////////////////////////////////////////////////////////////////////////////////////////////////////////////////////////////////////////////////////////////////////////////8BACAA////////////////AAAO////////AwAAAAMA////////////////////////////////////////////////////////////////////////////////////////////////////////////////////////////////////////////////////////////////////////////////////////////////////////////////////////////////////////////////////////////////////////////////////////////////////////////////////////////////////////////////////////////////////////////////////////////////////////////////////////////////////////////////////////////////////////////////////////////////////////////////////////AgACAP///////wUAAAACABAAC7Izcm5YpPpLi12O0fm4Gk4EAAAAAAADAAAABAADAAAAAwADAAAAAAADAAAAAwADAAMA////////BQAAAAMAEAAL/jyXqz2qOUeabdCFPWm3kwQAAAABAAMAAAACAAMAAAABAAMAAAACAP///////wMAAAAAAP///////wQAAQD///////8FAAAABAAQAAsX5L0vWWu0Sorb6zNorg97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jNyblik+kuLXY7R+bgaTgREYXRhAAUAAAAAAk5hbWUADQAAAExpbmtEYXRhTGlzdAAQVmVyc2lvbgAAAAAACUxhc3RXcml0ZQCg9ya+kQEAAAABAP////9hAGEAAAAFX2lkABAAAAAE/jyXqz2qOUeabdCFPWm3kwREYXRhAAUAAAAAAk5hbWUADQAAAExpbmtEYXRhTGlzdAAQVmVyc2lvbgABAAAACUxhc3RXcml0ZQCl9ya+kQEAAAACAP////9wAHAAAAAFX2lkABAAAAAEF+S9L1lrtEqK2+szaK4PewNEYXRhABYAAAACUGVyc29uYWxJZAABAAAAAAACTmFtZQALAAAAUGVyc29uYWxJZAAQVmVyc2lvbgAAAAAACUxhc3RXcml0ZQC89y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DAP///////////////////////////////////////////////////////////////////////////////////////////////////////////////////////////////////////////////////////////////////////////////////////////////////////////////////////////////////////////////////////////////////////////////////////////////////////////////////////////////////////////////////////////////////////////////////////////////////////////////////////////////////////////////////////////////////////////////wEAIAH///////////////8AAA7///////8FAAAABAD///////////////////////////////////////////////////////////////////////////////////////////////////////////////////////////////////////////////////////////////////////////////////////////////////////////////////////////////////////////////////////////////////////////////////////////////////////////////////////////////////////////////////////////////////////////////////////////////////////////////////////////////////////////////////////////////////////////////////////////////////////////////////////8CAAIBAwAAAAIA////////DgAGTGlua0RhdGFMaXN0XzAEAAAAAAAFAAAAAAAFAAAAAwAFAAAAAAAFAAAAAwADAAMBAwAAAAMA////////DgAGTGlua0RhdGFMaXN0XzEEAAAAAQAFAAAAAgAFAAAABAAFAAAAAg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05435131"/>
  <p:tag name="EMPOWERCHARTSPROPERTIES_SLOT" val="B"/>
  <p:tag name="RUNTIME_ID" val="f86a6f4b-5fab-4c21-99bd-66b54f6f6787"/>
</p:tagLst>
</file>

<file path=ppt/tags/tag118.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MA////////////////////////////////////////////////////////////////////////////////////////////////////////////////////////////////////////////////////////////////////////////////////////////////////////////////////////////////////////////////////////////////////////////////////////////////////////////////////////////////////////////////////////////////////////////////////////////////////////////////////////////////////////////////////////////////////////////////////////////////////////////////////////AgABAP///////wUAAAACABAACzRszz2uBxFAoNbeF8yM5S4EAAAAAAADAAAAAAADAAAABAADAAEA////////BQAAAAMAEAALpVpv26F32UiX41VbB6/l1gQAAAABAAMAAAAEAAMAAAABAAQAAgD///////8FAAAABAAQAAt0ufvC04cbTLHPKP7pMEz+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GzPPa4HEUCg1t4XzIzlLgREYXRhAAUAAAAAAk5hbWUADQAAAExpbmtEYXRhTGlzdAAQVmVyc2lvbgAAAAAACUxhc3RXcml0ZQDm9ya+kQEAAAABAP////9hAGEAAAAFX2lkABAAAAAEpVpv26F32UiX41VbB6/l1gREYXRhAAUAAAAAAk5hbWUADQAAAExpbmtEYXRhTGlzdAAQVmVyc2lvbgABAAAACUxhc3RXcml0ZQDo9ya+kQEAAAACAP////9wAHAAAAAFX2lkABAAAAAEdLn7wtOHG0yxzyj+6TBM/gNEYXRhABYAAAACUGVyc29uYWxJZAABAAAAAAACTmFtZQALAAAAUGVyc29uYWxJZAAQVmVyc2lvbgAAAAAACUxhc3RXcml0ZQAC+C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06172907"/>
  <p:tag name="EMPOWERCHARTSPROPERTIES_SLOT" val="B"/>
  <p:tag name="RUNTIME_ID" val="d6ef776d-3853-4483-8abc-87b489623315"/>
</p:tagLst>
</file>

<file path=ppt/tags/tag119.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BAD///////////////////////////////////////////////////////////////////////////////////////////////////////////////////////////////////////////////////////////////////////////////////////////////////////////////////////////////////////////////////////////////////////////////////////////////////////////////////////////////////////////////////////////////////////////////////////////////////////////////////////////////////////////////////////////////////////////////////////////////8BACAA////////////////AAAO////////AwAAAAMA////////////////////////////////////////////////////////////////////////////////////////////////////////////////////////////////////////////////////////////////////////////////////////////////////////////////////////////////////////////////////////////////////////////////////////////////////////////////////////////////////////////////////////////////////////////////////////////////////////////////////////////////////////////////////////////////////////////////////////////////////////////////////////AgABAP///////wUAAAACABAACzZeqeIcdwpDsKAohsFjb3UEAAAAAAADAAAABAADAAAAAwADAAEA////////BQAAAAMAEAALD7sV+ycRGkyIdXXxXEqi1AQAAAABAAMAAAACAAMAAAABAAQAAgD///////8FAAAABAAQAAtBgkN2OMSYQ69IMpKPYwpQ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l6p4hx3CkOwoCiGwWNvdQREYXRhAAUAAAAAAk5hbWUADQAAAExpbmtEYXRhTGlzdAAQVmVyc2lvbgAAAAAACUxhc3RXcml0ZQAr+Ca+kQEAAAABAP////9hAGEAAAAFX2lkABAAAAAED7sV+ycRGkyIdXXxXEqi1AREYXRhAAUAAAAAAk5hbWUADQAAAExpbmtEYXRhTGlzdAAQVmVyc2lvbgABAAAACUxhc3RXcml0ZQAw+Ca+kQEAAAACAP////9wAHAAAAAFX2lkABAAAAAEQYJDdjjEmEOvSDKSj2MKUANEYXRhABYAAAACUGVyc29uYWxJZAABAAAAAAACTmFtZQALAAAAUGVyc29uYWxJZAAQVmVyc2lvbgAAAAAACUxhc3RXcml0ZQBE+C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06843455"/>
  <p:tag name="EMPOWERCHARTSPROPERTIES_SLOT" val="B"/>
  <p:tag name="RUNTIME_ID" val="efe51b14-0f8f-43f3-88e8-3dc3191ee33b"/>
</p:tagLst>
</file>

<file path=ppt/tags/tag12.xml><?xml version="1.0" encoding="utf-8"?>
<p:tagLst xmlns:a="http://schemas.openxmlformats.org/drawingml/2006/main" xmlns:r="http://schemas.openxmlformats.org/officeDocument/2006/relationships" xmlns:p="http://schemas.openxmlformats.org/presentationml/2006/main">
  <p:tag name="MIO_CONTENTTAG" val="rPMw8tyFVEqayDzNVGq+kA=="/>
  <p:tag name="MIO_DBID" val="b8fcb12d-af03-49eb-9f79-bb019be99e1e"/>
  <p:tag name="MIO_EKGUID" val="51d57d22-e16b-47bf-87b7-d61147d5652e"/>
  <p:tag name="MIO_GUID" val="56f89b5c-0b22-45ef-819d-1b780df8728c"/>
  <p:tag name="MIO_LASTDOWNLOADED" val="06.09.2024 08:43:14"/>
  <p:tag name="MIO_LASTEDITORNAME" val="Georgina DEMO"/>
  <p:tag name="MIO_OBJECTNAME" val="Video guides"/>
  <p:tag name="MIO_UPDATE" val="True"/>
  <p:tag name="MIO_VERSION" val="05.09.2024 19:30:04"/>
</p:tagLst>
</file>

<file path=ppt/tags/tag120.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1PL4R9/SjdHoLBgwopa574EAAAAAAADAAAAAAADAAAAAwADAAAAAAADAAAAAwADAAIA////////BQAAAAMAEAALUe1cScThZkS3i8kSrnCk9gQAAAABAAMAAAACAAMAAAAEAAMAAAACAP///////wQAAQD///////8FAAAABAAQAAtW08XcwW/oTZ/TnnzhpKjW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8vhH39KN0egsGDCilrnvgREYXRhAAUAAAAAAk5hbWUADQAAAExpbmtEYXRhTGlzdAAQVmVyc2lvbgABAAAACUxhc3RXcml0ZQCF+Ca+kQEAAAABAP////9hAGEAAAAFX2lkABAAAAAEUe1cScThZkS3i8kSrnCk9gREYXRhAAUAAAAAAk5hbWUADQAAAExpbmtEYXRhTGlzdAAQVmVyc2lvbgAAAAAACUxhc3RXcml0ZQCF+Ca+kQEAAAACAP////9wAHAAAAAFX2lkABAAAAAEVtPF3MFv6E2f05584aSo1gNEYXRhABYAAAACUGVyc29uYWxJZAABAAAAAAACTmFtZQALAAAAUGVyc29uYWxJZAAQVmVyc2lvbgAAAAAACUxhc3RXcml0ZQCe+C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IBAwAAAAIA////////DgAGTGlua0RhdGFMaXN0XzEEAAAAAAAFAAAAAwAFAAAABAAFAAAAAw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07688382"/>
  <p:tag name="EMPOWERCHARTSPROPERTIES_SLOT" val="B"/>
  <p:tag name="RUNTIME_ID" val="dd37c604-cf47-4aad-8a9a-7450c18b8df2"/>
</p:tagLst>
</file>

<file path=ppt/tags/tag121.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wUAFgwAAAAAAAAAAAAAIAD///////////////8AAAD///////////////8DAAAAAgD///////////////////////////////////////////////////////////////////////////////////////////////////////////////////////////////////////////////////////////////////////////////////////////////////////////////////////////////////////////////////////////////////////////////////////////////////////////////////////////////////////////////////////////////////////////////////////////////////////////////////////////////////////////////////////////////////////////////////////////////////////////////8BACAA////////////////AAAO////////AwAAAAMA////////////////////////////////////////////////////////////////////////////////////////////////////////////////////////////////////////////////////////////////////////////////////////////////////////////////////////////////////////////////////////////////////////////////////////////////////////////////////////////////////////////////////////////////////////////////////////////////////////////////////////////////////////////////////////////////////////////////////////////////////////////////////////AgABAP///////wUAAAACABAACya7FCXcCtBNinSiMFHiS0AEAAAAAAADAAAAAAADAAAABAADAAEA////////BQAAAAMAEAALWQK0jc6TLkS/3tITVVyPLQQAAAABAAMAAAAEAAMAAAABAAQAAQD///////8FAAAABAAQAAvo48YnePc/QrOWI2+qAsUN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rsUJdwK0E2KdKIwUeJLQAREYXRhAAUAAAAAAk5hbWUADQAAAExpbmtEYXRhTGlzdAAQVmVyc2lvbgABAAAACUxhc3RXcml0ZQDS+Ca+kQEAAAABAP////9hAGEAAAAFX2lkABAAAAAEWQK0jc6TLkS/3tITVVyPLQREYXRhAAUAAAAAAk5hbWUADQAAAExpbmtEYXRhTGlzdAAQVmVyc2lvbgAAAAAACUxhc3RXcml0ZQDR+Ca+kQEAAAACAP////9wAHAAAAAFX2lkABAAAAAE6OPGJ3j3P0KzliNvqgLFDQNEYXRhABYAAAACUGVyc29uYWxJZAABAAAAAAACTmFtZQALAAAAUGVyc29uYWxJZAAQVmVyc2lvbgAAAAAACUxhc3RXcml0ZQDq+C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EAP///////wUAAAAEAP///////////////////////////////////////////////////////////////////////////////////////////////////////////////////////////////////////////////////////////////////////////////////////////////////////////////////////////////////////////////////////////////////////////////////////////////////////////////////////////////////////////////////////////////////////////////////////////////////////////////////////////////////////////////////////////////////////////////wEAIAH///////////////8AAA7///////8FAAAABAD///////////////////////////////////////////////////////////////////////////////////////////////////////////////////////////////////////////////////////////////////////////////////////////////////////////////////////////////////////////////////////////////////////////////////////////////////////////////////////////////////////////////////////////////////////////////////////////////////////////////////////////////////////////////////////////////////////////////////////////////////////////////////////8CAAEBAwAAAAIA////////DgAGTGlua0RhdGFMaXN0XzEEAAAAAAAFAAAAAwAFAAAABAADAAEBAwAAAAMA////////DgAGTGlua0RhdGFMaXN0XzAEAAAAAQAFAAAAAAAFAAAAAgAEAAMBAwAAAAQA////////DAAGUGVyc29uYWxJZF8wBAAAAAIABQAAAAI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08551939"/>
  <p:tag name="EMPOWERCHARTSPROPERTIES_SLOT" val="B"/>
  <p:tag name="RUNTIME_ID" val="f1787d6d-f86a-42a8-8d10-0e3cca8ec16c"/>
</p:tagLst>
</file>

<file path=ppt/tags/tag122.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gsAAAAAAAAAAAAAIAD///////////////8AAAD///////////////8DAAAAAgD///////8DAAAABAD///////8DAAAABAD///////////////////////////////////////////////////////////////////////////////////////////////////////////////////////////////////////////////////////////////////////////////////////////////////////////////////////////////////////////////////////////////////////////////////////////////////////////////////////////////////////////////////////////////////////////////////////////////////////////////////////////////////////////////////////////////////////////////8BACAA////////////////AAAO////////AwAAAAMA////////////////////////////////////////////////////////////////////////////////////////////////////////////////////////////////////////////////////////////////////////////////////////////////////////////////////////////////////////////////////////////////////////////////////////////////////////////////////////////////////////////////////////////////////////////////////////////////////////////////////////////////////////////////////////////////////////////////////////////////////////////////////////AgABAP///////wUAAAACABAAC+c95FCTYjxBoaaQRmZ2nEoEAAAAAAADAAAAAAADAAAABAADAAEA////////BQAAAAMAEAALkNmKxlgalkeTP70GfhtmGAQAAAABAAMAAAAEAAMAAAABAAQAAwD///////8FAAAABAAQAAsowjOy+v4NS7NfUFeJJCrLBAAAAAIAAwAAAAIAAwAAAAM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5z3kUJNiPEGhppBGZnacSgREYXRhAAUAAAAAAk5hbWUADQAAAExpbmtEYXRhTGlzdAAQVmVyc2lvbgABAAAACUxhc3RXcml0ZQAl+Sa+kQEAAAABAP////9hAGEAAAAFX2lkABAAAAAEkNmKxlgalkeTP70GfhtmGAREYXRhAAUAAAAAAk5hbWUADQAAAExpbmtEYXRhTGlzdAAQVmVyc2lvbgAAAAAACUxhc3RXcml0ZQAi+Sa+kQEAAAACAP////9wAHAAAAAFX2lkABAAAAAEKMIzsvr+DUuzX1BXiSQqywNEYXRhABYAAAACUGVyc29uYWxJZAABAAAAAAACTmFtZQALAAAAUGVyc29uYWxJZAAQVmVyc2lvbgAAAAAACUxhc3RXcml0ZQA8+S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09365485"/>
  <p:tag name="EMPOWERCHARTSPROPERTIES_SLOT" val="B"/>
  <p:tag name="RUNTIME_ID" val="f1b32117-18ab-4ee4-ac2c-26ebc24512c0"/>
</p:tagLst>
</file>

<file path=ppt/tags/tag123.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AgD///////8DAAAAAgD///////////////////////////////////////////////////////////////////////////////////////////////////////////////////////////////////////////////////////////////////////////////////////////////////////////////////////////////////////////////////////////////////////////////////////////////////////////////////////////////////////////////////////////////////////////////////////////////////////////////////////////////////////////////////////////////////////////////////////////////8BACAA////////////////AAAO////////AwAAAAQA////////////////////////////////////////////////////////////////////////////////////////////////////////////////////////////////////////////////////////////////////////////////////////////////////////////////////////////////////////////////////////////////////////////////////////////////////////////////////////////////////////////////////////////////////////////////////////////////////////////////////////////////////////////////////////////////////////////////////////////////////////////////////////AgACAP///////wUAAAACABAAC/kRG3wy7SFCm+19mRLP/OQEAAAAAAADAAAAAAADAAAAAwADAAAAAAD///////8DAAEA////////BQAAAAMAEAALfGJJ5nHUgkyWl6OAlKsLZwQAAAABAAMAAAACAAMAAAAEAAQAAQD///////8FAAAABAAQAAt7SE3yTldDR7c+8+Ob0/DC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EbfDLtIUKb7X2ZEs/85AREYXRhAAUAAAAAAk5hbWUADQAAAExpbmtEYXRhTGlzdAAQVmVyc2lvbgAAAAAACUxhc3RXcml0ZQB0+Sa+kQEAAAABAP////9hAGEAAAAFX2lkABAAAAAEfGJJ5nHUgkyWl6OAlKsLZwREYXRhAAUAAAAAAk5hbWUADQAAAExpbmtEYXRhTGlzdAAQVmVyc2lvbgABAAAACUxhc3RXcml0ZQB3+Sa+kQEAAAACAP////9wAHAAAAAFX2lkABAAAAAEe0hN8k5XQ0e3PvPjm9PwwgNEYXRhABYAAAACUGVyc29uYWxJZAABAAAAAAACTmFtZQALAAAAUGVyc29uYWxJZAAQVmVyc2lvbgAAAAAACUxhc3RXcml0ZQCN+S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EAP///////////////////////////////////////////////////////////////////////////////////////////////////////////////////////////////////////////////////////////////////////////////////////////////////////////////////////////////////////////////////////////////////////////////////////////////////////////////////////////////////////////////////////////////////////////////////////////////////////////////////////////////////////////////////////////////////////////////wEAIAH///////////////8AAA7///////8FAAAABAD///////////////////////////////////////////////////////////////////////////////////////////////////////////////////////////////////////////////////////////////////////////////////////////////////////////////////////////////////////////////////////////////////////////////////////////////////////////////////////////////////////////////////////////////////////////////////////////////////////////////////////////////////////////////////////////////////////////////////////////////////////////////////////8CAAIBAwAAAAIA////////DgAGTGlua0RhdGFMaXN0XzAEAAAAAAAFAAAAAAAFAAAAAwAFAAAAAAAFAAAABAADAAEBAwAAAAMA////////DgAGTGlua0RhdGFMaXN0XzEEAAAAAQAFAAAAAgAFAAAABAAEAAMBAwAAAAQA////////DAAGUGVyc29uYWxJZF8wBAAAAAIABQAAAAM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10121095"/>
  <p:tag name="EMPOWERCHARTSPROPERTIES_SLOT" val="B"/>
  <p:tag name="RUNTIME_ID" val="57039fd7-45ca-4389-90e0-7d1bf48ba29a"/>
</p:tagLst>
</file>

<file path=ppt/tags/tag124.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zgsAAAAAAAAAAAAAIAD///////////////8AAAD///////////////8DAAAABAD///////8DAAAABAD///////8DAAAABAD///////8DAAAABAD///////8DAAAABAD///////8DAAAABAD///////////////////////////////////////////////////////////////////////////////////////////////////////////////////////////////////////////////////////////////////////////////////////////////////////////////////////////////////////////////////////////////////////////////////////////////////////////////////////////////////////////////////////////////////////////////////////////////////////////////////////////////8BACAA////////////////AAAO////////AwAAAAMA////////////////////////////////////////////////////////////////////////////////////////////////////////////////////////////////////////////////////////////////////////////////////////////////////////////////////////////////////////////////////////////////////////////////////////////////////////////////////////////////////////////////////////////////////////////////////////////////////////////////////////////////////////////////////////////////////////////////////////////////////////////////////////AgABAP///////wUAAAACABAACzFxWkAT5JBFmpVZpCZWk4AEAAAAAAADAAAABAADAAAAAwADAAIA////////BQAAAAMAEAALofIa24NTyU2l1aTQ/8GO7gQAAAABAAMAAAACAAMAAAABAAMAAAAEAP///////wQABgD///////8FAAAABAAQAAsqptwe2q7DS6VzDkIqWfTvBAAAAAIAAwAAAAAAAwAAAAIAAwAAAAAAAwAAAAM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XFaQBPkkEWalVmkJlaTgAREYXRhAAUAAAAAAk5hbWUADQAAAExpbmtEYXRhTGlzdAAQVmVyc2lvbgAAAAAACUxhc3RXcml0ZQDB+Sa+kQEAAAABAP////9hAGEAAAAFX2lkABAAAAAEofIa24NTyU2l1aTQ/8GO7gREYXRhAAUAAAAAAk5hbWUADQAAAExpbmtEYXRhTGlzdAAQVmVyc2lvbgABAAAACUxhc3RXcml0ZQDG+Sa+kQEAAAACAP////9wAHAAAAAFX2lkABAAAAAEKqbcHtquw0ulcw5CKln07wNEYXRhABYAAAACUGVyc29uYWxJZAABAAAAAAACTmFtZQALAAAAUGVyc29uYWxJZAAQVmVyc2lvbgAAAAAACUxhc3RXcml0ZQDg+S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10995964"/>
  <p:tag name="EMPOWERCHARTSPROPERTIES_SLOT" val="B"/>
  <p:tag name="RUNTIME_ID" val="bc4adc61-e3ba-44fc-a359-54827593e62d"/>
</p:tagLst>
</file>

<file path=ppt/tags/tag125.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wgsAAAAAAAAAAAAAIAD///////////////8AAAD///////////////8DAAAABAD///////8DAAAABAD///////8DAAAABAD///////8DAAAABAD///////8DAAAAAgD///////////////////////////////////////////////////////////////////////////////////////////////////////////////////////////////////////////////////////////////////////////////////////////////////////////////////////////////////////////////////////////////////////////////////////////////////////////////////////////////////////////////////////////////////////////////////////////////////////////////////////////////////////////////8BACAA////////////////AAAO////////AwAAAAMA////////////////////////////////////////////////////////////////////////////////////////////////////////////////////////////////////////////////////////////////////////////////////////////////////////////////////////////////////////////////////////////////////////////////////////////////////////////////////////////////////////////////////////////////////////////////////////////////////////////////////////////////////////////////////////////////////////////////////////////////////////////////////////AgAFAP///////wUAAAACABAAC9aoIcV6rRtMoysdG/VZpL4EAAAAAAADAAAABAADAAAAAwADAAAABAD///////8DAAAABAD///////8DAAAABAD///////8DAAAAAAD///////8DAAEA////////BQAAAAMAEAAL5fMu0DvNcUeX8uR+SHHhGwQAAAABAAMAAAACAAMAAAABAAQABAD///////8FAAAABAAQAAtqGoCpaOzXS70pDhQfCrTMBAAAAAIAAwAAAAAAAwAAAAIAAwAAAAAAAw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qghxXqtG0yjKx0b9VmkvgREYXRhAAUAAAAAAk5hbWUADQAAAExpbmtEYXRhTGlzdAAQVmVyc2lvbgAAAAAACUxhc3RXcml0ZQAO+ia+kQEAAAABAP////9hAGEAAAAFX2lkABAAAAAE5fMu0DvNcUeX8uR+SHHhGwREYXRhAAUAAAAAAk5hbWUADQAAAExpbmtEYXRhTGlzdAAQVmVyc2lvbgABAAAACUxhc3RXcml0ZQAR+ia+kQEAAAACAP////9wAHAAAAAFX2lkABAAAAAEahqAqWjs10u9KQ4UHwq0zANEYXRhABYAAAACUGVyc29uYWxJZAABAAAAAAACTmFtZQALAAAAUGVyc29uYWxJZAAQVmVyc2lvbgAAAAAACUxhc3RXcml0ZQAr+i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CAP///////wUAAAACAP///////wUAAAACAP///////////////////////////////////////////////////////////////////////////////////////////////////////////////////////////////////////////////////////////////////////////////////////////////////////////////////////////////////////////////////////////////////////////////////////////////////////////////////////////////////////////////////////////////////////////////////////////////////////////////////////////////////////////////wEAIAH///////////////8AAA7///////8FAAAABAD///////////////////////////////////////////////////////////////////////////////////////////////////////////////////////////////////////////////////////////////////////////////////////////////////////////////////////////////////////////////////////////////////////////////////////////////////////////////////////////////////////////////////////////////////////////////////////////////////////////////////////////////////////////////////////////////////////////////////////////////////////////////////////8CAAUBAwAAAAIA////////DgAGTGlua0RhdGFMaXN0XzAEAAAAAAAFAAAAAAAFAAAAAwAFAAAAAAAFAAAABAAFAAAAAAD///////8FAAAAAAD///////8FAAAAAAD///////8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11729037"/>
  <p:tag name="EMPOWERCHARTSPROPERTIES_SLOT" val="B"/>
  <p:tag name="RUNTIME_ID" val="4d089e8c-77b6-400e-bb74-0b60f550e377"/>
</p:tagLst>
</file>

<file path=ppt/tags/tag126.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wD///////8DAAAAAwD///////8DAAAAAwD///////////////////////////////////////////////////////////////////////////////////////////////////////////////////////////////////////////////////////////////////////////////////////////////////////////////////////////////////////////////////////////////////////////////////////////////////////////////////////////////////////////////////////////////////////////////////////////////////////////////////////////////////////////////////////////////8BACAA////////////////AAAO////////AwAAAAMA////////////////////////////////////////////////////////////////////////////////////////////////////////////////////////////////////////////////////////////////////////////////////////////////////////////////////////////////////////////////////////////////////////////////////////////////////////////////////////////////////////////////////////////////////////////////////////////////////////////////////////////////////////////////////////////////////////////////////////////////////////////////////////AgABAP///////wUAAAACABAAC+JHURivZdpKmdLwTnOVPFYEAAAAAAADAAAAAAADAAAABAADAAQA////////BQAAAAMAEAAL9kIA14lk7Em/zYIv1qqqaAQAAAABAAMAAAAEAAMAAAABAAMAAAAAAP///////wMAAAAAAP///////wMAAAAAAP///////wQAAQD///////8FAAAABAAQAAvRor5MGAhZTLZDpTCcCsgV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4kdRGK9l2kqZ0vBOc5U8VgREYXRhAAUAAAAAAk5hbWUADQAAAExpbmtEYXRhTGlzdAAQVmVyc2lvbgAAAAAACUxhc3RXcml0ZQBf+ia+kQEAAAABAP////9hAGEAAAAFX2lkABAAAAAE9kIA14lk7Em/zYIv1qqqaAREYXRhAAUAAAAAAk5hbWUADQAAAExpbmtEYXRhTGlzdAAQVmVyc2lvbgABAAAACUxhc3RXcml0ZQBh+ia+kQEAAAACAP////9wAHAAAAAFX2lkABAAAAAE0aK+TBgIWUy2Q6UwnArIFQNEYXRhABYAAAACUGVyc29uYWxJZAABAAAAAAACTmFtZQALAAAAUGVyc29uYWxJZAAQVmVyc2lvbgAAAAAACUxhc3RXcml0ZQB3+i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EAIAH///////////////8AAA7///////8FAAAABAD///////////////////////////////////////////////////////////////////////////////////////////////////////////////////////////////////////////////////////////////////////////////////////////////////////////////////////////////////////////////////////////////////////////////////////////////////////////////////////////////////////////////////////////////////////////////////////////////////////////////////////////////////////////////////////////////////////////////////////////////////////////////////////8CAAEBAwAAAAIA////////DgAGTGlua0RhdGFMaXN0XzAEAAAAAAAFAAAAAAAFAAAAAwADAAQBAwAAAAMA////////DgAGTGlua0RhdGFMaXN0XzEEAAAAAQAFAAAAAgAFAAAABAAFAAAAAAAFAAAABAAFAAAAAAAFAAAABAAFAAAAAAD///////8EAAMBAwAAAAQA////////DAAGUGVyc29uYWxJZF8wBAAAAAIABQAAAAM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12556953"/>
  <p:tag name="EMPOWERCHARTSPROPERTIES_SLOT" val="B"/>
  <p:tag name="RUNTIME_ID" val="cd1ec71a-4267-42a3-9051-fdcbf69b68aa"/>
</p:tagLst>
</file>

<file path=ppt/tags/tag127.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MA////////////////////////////////////////////////////////////////////////////////////////////////////////////////////////////////////////////////////////////////////////////////////////////////////////////////////////////////////////////////////////////////////////////////////////////////////////////////////////////////////////////////////////////////////////////////////////////////////////////////////////////////////////////////////////////////////////////////////////////////////////////////////////AgABAP///////wUAAAACABAAC1mGk1+T/FtLio+zRIeR7d4EAAAAAAADAAAAAAADAAAABAADAAEA////////BQAAAAMAEAALTw7P0y4qm0WvujzCPUGdGwQAAAABAAMAAAAEAAMAAAABAAQAAgD///////8FAAAABAAQAAsyQvLGLv0TT6GycnmuOfrQ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YaTX5P8W0uKj7NEh5Ht3gREYXRhAAUAAAAAAk5hbWUADQAAAExpbmtEYXRhTGlzdAAQVmVyc2lvbgAAAAAACUxhc3RXcml0ZQCs+ia+kQEAAAABAP////9hAGEAAAAFX2lkABAAAAAETw7P0y4qm0WvujzCPUGdGwREYXRhAAUAAAAAAk5hbWUADQAAAExpbmtEYXRhTGlzdAAQVmVyc2lvbgABAAAACUxhc3RXcml0ZQCs+ia+kQEAAAACAP////9wAHAAAAAFX2lkABAAAAAEMkLyxi79E0+hsnJ5rjn60ANEYXRhABYAAAACUGVyc29uYWxJZAABAAAAAAACTmFtZQALAAAAUGVyc29uYWxJZAAQVmVyc2lvbgAAAAAACUxhc3RXcml0ZQDD+i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13271009"/>
  <p:tag name="EMPOWERCHARTSPROPERTIES_SLOT" val="B"/>
  <p:tag name="RUNTIME_ID" val="04f7d687-7a3c-4c6d-877e-d857e0d6ce86"/>
</p:tagLst>
</file>

<file path=ppt/tags/tag128.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BAD///////8DAAAAAgD///////8DAAAAAgD///////////////////////////////////////////////////////////////////////////////////////////////////////////////////////////////////////////////////////////////////////////////////////////////////////////////////////////////////////////////////////////////////////////////////////////////////////////////////////////////////////////////////////////////////////////////////////////////////////////////////////////////////////////////////////////////8BACAA////////////////AAAO////////AwAAAAMA////////////////////////////////////////////////////////////////////////////////////////////////////////////////////////////////////////////////////////////////////////////////////////////////////////////////////////////////////////////////////////////////////////////////////////////////////////////////////////////////////////////////////////////////////////////////////////////////////////////////////////////////////////////////////////////////////////////////////////////////////////////////////////AgAEAP///////wUAAAACABAAC/RsFibs3U1Ln4xwsZI9Ad4EAAAAAAADAAAABAADAAAAAwADAAAABAD///////8DAAAAAAD///////8DAAAAAAD///////8DAAEA////////BQAAAAMAEAALU52zsZ1xh0qKvYMBIRTy3gQAAAABAAMAAAACAAMAAAABAAQAAgD///////8FAAAABAAQAAuTOA8ekQBNSY0yinLcJq4R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GwWJuzdTUufjHCxkj0B3gREYXRhAAUAAAAAAk5hbWUADQAAAExpbmtEYXRhTGlzdAAQVmVyc2lvbgAAAAAACUxhc3RXcml0ZQD3+ia+kQEAAAABAP////9hAGEAAAAFX2lkABAAAAAEU52zsZ1xh0qKvYMBIRTy3gREYXRhAAUAAAAAAk5hbWUADQAAAExpbmtEYXRhTGlzdAAQVmVyc2lvbgABAAAACUxhc3RXcml0ZQAH+ya+kQEAAAACAP////9wAHAAAAAFX2lkABAAAAAEkzgPHpEATUmNMopy3CauEQNEYXRhABYAAAACUGVyc29uYWxJZAABAAAAAAACTmFtZQALAAAAUGVyc29uYWxJZAAQVmVyc2lvbgAAAAAACUxhc3RXcml0ZQAe+y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CAP///////wUAAAACAP///////////////////////////////////////////////////////////////////////////////////////////////////////////////////////////////////////////////////////////////////////////////////////////////////////////////////////////////////////////////////////////////////////////////////////////////////////////////////////////////////////////////////////////////////////////////////////////////////////////////////////////////////////////////////////////////wEAIAH///////////////8AAA7///////8FAAAABAD///////////////////////////////////////////////////////////////////////////////////////////////////////////////////////////////////////////////////////////////////////////////////////////////////////////////////////////////////////////////////////////////////////////////////////////////////////////////////////////////////////////////////////////////////////////////////////////////////////////////////////////////////////////////////////////////////////////////////////////////////////////////////////8CAAQBAwAAAAIA////////DgAGTGlua0RhdGFMaXN0XzAEAAAAAAAFAAAAAAAFAAAAAwAFAAAAAAAFAAAABAAFAAAAAAD///////8FAAAAAAD///////8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14152675"/>
  <p:tag name="EMPOWERCHARTSPROPERTIES_SLOT" val="B"/>
  <p:tag name="RUNTIME_ID" val="daf235dd-da8a-4469-a7ef-66ec8ab2303b"/>
</p:tagLst>
</file>

<file path=ppt/tags/tag129.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oBAQEBAQEBAQEBAQEBAQMAAAAAAAAAAwAAAAMAAAAA/////wUACgwAAAAAAAAAAAAAIAD///////////////8AAAD///////////////8DAAAAAgD///////8DAAAABAD///////////////////////////////////////////////////////////////////////////////////////////////////////////////////////////////////////////////////////////////////////////////////////////////////////////////////////////////////////////////////////////////////////////////////////////////////////////////////////////////////////////////////////////////////////////////////////////////////////////////////////////////////////////////////////////////////////////////////////////////8BACAA////////////////AAAO////////AwAAAAQA////////////////////////////////////////////////////////////////////////////////////////////////////////////////////////////////////////////////////////////////////////////////////////////////////////////////////////////////////////////////////////////////////////////////////////////////////////////////////////////////////////////////////////////////////////////////////////////////////////////////////////////////////////////////////////////////////////////////////////////////////////////////////////AgABAP///////wUAAAACABAAC9bW1R9yIY9AvSW5BWUBkWwEAAAAAAADAAAAAAADAAAAAwADAAEA////////BQAAAAMAEAALFByzSn7E+kGTSsCfjwWEVwQAAAABAAMAAAACAAMAAAAEAAQAAgD///////8FAAAABAAQAAvN2xSVDCU+TJ44eeqiJ48e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tbVH3Ihj0C9JbkFZQGRbAREYXRhAAUAAAAAAk5hbWUADQAAAExpbmtEYXRhTGlzdAAQVmVyc2lvbgAAAAAACUxhc3RXcml0ZQBj+ya+kQEAAAABAP////9hAGEAAAAFX2lkABAAAAAEFByzSn7E+kGTSsCfjwWEVwREYXRhAAUAAAAAAk5hbWUADQAAAExpbmtEYXRhTGlzdAAQVmVyc2lvbgABAAAACUxhc3RXcml0ZQBk+ya+kQEAAAACAP////9wAHAAAAAFX2lkABAAAAAEzdsUlQwlPkyeOHnqoiePHgNEYXRhABYAAAACUGVyc29uYWxJZAABAAAAAAACTmFtZQALAAAAUGVyc29uYWxJZAAQVmVyc2lvbgAAAAAACUxhc3RXcml0ZQB5+y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yCwAAAAAAAAAAAAAgAf///////////////wAAAP///////////////wUAAAACAP///////wUAAAAEAP///////wUAAAAEAP///////wUAAAAEAP///////wUAAAAEAP///////wUAAAAEAP///////wUAAAAEAP///////wUAAAAEAP///////wUAAAAEAP///////wUAAAAEAP///////////////////////////////////////////////////////////////////////////////////////////////////////////////////////////////////////////////////////////////////////////////////////////////////////////////////////////////////////////////////////////////////////////////////////////////////////////////////////////////////////////////////////////////wEAIAH///////////////8AAA7///////8FAAAABAD///////////////////////////////////////////////////////////////////////////////////////////////////////////////////////////////////////////////////////////////////////////////////////////////////////////////////////////////////////////////////////////////////////////////////////////////////////////////////////////////////////////////////////////////////////////////////////////////////////////////////////////////////////////////////////////////////////////////////////////////////////////////////////8CAAEBAwAAAAIA////////DgAGTGlua0RhdGFMaXN0XzAEAAAAAAAFAAAAAAAFAAAAAwADAAEBAwAAAAMA////////DgAGTGlua0RhdGFMaXN0XzEEAAAAAQAFAAAAAgAFAAAABAAEAAoBAwAAAAQA////////DAAGUGVyc29uYWxJZF8wBAAAAAIABQAAAAMABQAAAAEABQAAAAAA////////BQAAAAAA////////BQAAAAAA////////BQAAAAAA////////BQAAAAA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15006676"/>
  <p:tag name="EMPOWERCHARTSPROPERTIES_SLOT" val="B"/>
  <p:tag name="RUNTIME_ID" val="3130520e-6648-4156-b602-4d37ce26fbf0"/>
</p:tagLst>
</file>

<file path=ppt/tags/tag13.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QBAQEBAQEBAQEBAQEBAQMAAAAAAAAAAwAAAAMAAAAA/////wUAqgsAAAAAAAAAAAAAIAD///////////////8AAAD///////////////8DAAAAAgD///////8DAAAAAgD///////8DAAAAAwD///////8DAAAAAwD///////8DAAAABAD///////8DAAAABAD///////////////////////////////////////////////////////////////////////////////////////////////////////////////////////////////////////////////////////////////////////////////////////////////////////////////////////////////////////////////////////////////////////////////////////////////////////////////////////////////////////////////////////////////////////////////////////////////////////////////////////////////8BACAA////////////////AAAO////////AwAAAAQA////////////////////////////////////////////////////////////////////////////////////////////////////////////////////////////////////////////////////////////////////////////////////////////////////////////////////////////////////////////////////////////////////////////////////////////////////////////////////////////////////////////////////////////////////////////////////////////////////////////////////////////////////////////////////////////////////////////////////////////////////////////////////////AgACAP///////wUAAAACABAAC05P5xdy0JNGiOzIEX3RJF8EAAAAAAADAAAAAAADAAAAAwADAAAAAAADAAAAAwADAAQA////////BQAAAAMAEAALtVHKRiasskS0CVOa1D3tbwQAAAABAAMAAAACAAMAAAAEAAMAAAACAAMAAAAEAAMAAAAAAAMAAAAEAAMAAAAAAAMAAAAEAAQABgD///////8FAAAABAAQAAsE605mya3dTIoaAoChpijKBAAAAAIAAwAAAAMAAwAAAAEAAwAAAAMA////////AwAAAAMA////////AwAAAAM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k/nF3LQk0aI7MgRfdEkXwREYXRhAAUAAAAAAk5hbWUADQAAAExpbmtEYXRhTGlzdAAQVmVyc2lvbgABAAAACUxhc3RXcml0ZQDA1QHujwEAAAABAP////9hAGEAAAAFX2lkABAAAAAEtVHKRiasskS0CVOa1D3tbwREYXRhAAUAAAAAAk5hbWUADQAAAExpbmtEYXRhTGlzdAAQVmVyc2lvbgAAAAAACUxhc3RXcml0ZQDA1QHujwEAAAACAP////9wAHAAAAAFX2lkABAAAAAEBOtOZsmt3UyKGgKAoaYoygNEYXRhABYAAAACUGVyc29uYWxJZAABAAAAAAACTmFtZQALAAAAUGVyc29uYWxJZAAQVmVyc2lvbgAAAAAACUxhc3RXcml0ZQDa1QHu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IBAwAAAAIA////////DgAGTGlua0RhdGFMaXN0XzEEAAAAAAAFAAAAAwAFAAAABAAFAAAAAwD///////8DAAQBAwAAAAMA////////DgAGTGlua0RhdGFMaXN0XzAEAAAAAQAFAAAAAAAFAAAAAg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532818488242583"/>
  <p:tag name="EMPOWERCHARTSPROPERTIES_SLOT" val="B"/>
  <p:tag name="RUNTIME_ID" val="d87024c1-d05e-405e-82c3-f4f60e201c6d"/>
</p:tagLst>
</file>

<file path=ppt/tags/tag130.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BAD///////////////////////////////////////////////////////////////////////////////////////////////////////////////////////////////////////////////////////////////////////////////////////////////////////////////////////////////////////////////////////////////////////////////////////////////////////////////////////////////////////////////////////////////////////////////////////////////////////////////////////////////////////////////////////////////////////////////////////////////////////////////8BACAA////////////////AAAO////////AwAAAAMA////////////////////////////////////////////////////////////////////////////////////////////////////////////////////////////////////////////////////////////////////////////////////////////////////////////////////////////////////////////////////////////////////////////////////////////////////////////////////////////////////////////////////////////////////////////////////////////////////////////////////////////////////////////////////////////////////////////////////////////////////////////////////////AgABAP///////wUAAAACABAAC6jrsWYhuv1BrLH8lMYYR68EAAAAAAADAAAABAADAAAAAwADAAEA////////BQAAAAMAEAALHsYlZ/jIe0iiAr8QYKyBaAQAAAABAAMAAAACAAMAAAABAAQAAQD///////8FAAAABAAQAAsM03gzhDzETrKuYAtUxqki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OuxZiG6/UGssfyUxhhHrwREYXRhAAUAAAAAAk5hbWUADQAAAExpbmtEYXRhTGlzdAAQVmVyc2lvbgAAAAAACUxhc3RXcml0ZQCh+ya+kQEAAAABAP////9hAGEAAAAFX2lkABAAAAAEHsYlZ/jIe0iiAr8QYKyBaAREYXRhAAUAAAAAAk5hbWUADQAAAExpbmtEYXRhTGlzdAAQVmVyc2lvbgABAAAACUxhc3RXcml0ZQCi+ya+kQEAAAACAP////9wAHAAAAAFX2lkABAAAAAEDNN4M4Q8xE6yrmALVMapIgNEYXRhABYAAAACUGVyc29uYWxJZAABAAAAAAACTmFtZQALAAAAUGVyc29uYWxJZAAQVmVyc2lvbgAAAAAACUxhc3RXcml0ZQC7+y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15674671"/>
  <p:tag name="EMPOWERCHARTSPROPERTIES_SLOT" val="B"/>
  <p:tag name="RUNTIME_ID" val="27c1a5e5-67e9-40b9-9f6a-6f9123b2ef99"/>
</p:tagLst>
</file>

<file path=ppt/tags/tag131.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MBAQEBAQEBAQEBAQEBAQMAAAAAAAAAAwAAAAMAAAAA/////wUAqgsAAAAAAAAAAAAAIAD///////////////8AAAD///////////////8DAAAAAgD///////8DAAAAAgD///////8DAAAAAgD///////8DAAAABAD///////8DAAAABAD///////8DAAAABAD///////8DAAAABAD///////8DAAAABAD///////////////////////////////////////////////////////////////////////////////////////////////////////////////////////////////////////////////////////////////////////////////////////////////////////////////////////////////////////////////////////////////////////////////////////////////////////////////////////////////////////////////////////////////////////////////////////////////8BACAA////////////////AAAO////////AwAAAAQA////////////////////////////////////////////////////////////////////////////////////////////////////////////////////////////////////////////////////////////////////////////////////////////////////////////////////////////////////////////////////////////////////////////////////////////////////////////////////////////////////////////////////////////////////////////////////////////////////////////////////////////////////////////////////////////////////////////////////////////////////////////////////////AgADAP///////wUAAAACABAAC8SbOy+j/8hKr1NkRqnfDJgEAAAAAAADAAAAAAADAAAAAwADAAAAAAADAAAABAADAAAAAAADAAAABAADAAEA////////BQAAAAMAEAALCWbDYpA7hEikaFW7zTkcyQQAAAABAAMAAAACAAMAAAAEAAQACAD///////8FAAAABAAQAAsl3Dpq8O8ETJBXtvUVhPSDBAAAAAIAAwAAAAMAAwAAAAEAAwAAAAI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Js7L6P/yEqvU2RGqd8MmAREYXRhAAUAAAAAAk5hbWUADQAAAExpbmtEYXRhTGlzdAAQVmVyc2lvbgAAAAAACUxhc3RXcml0ZQDf+ya+kQEAAAABAP////9hAGEAAAAFX2lkABAAAAAECWbDYpA7hEikaFW7zTkcyQREYXRhAAUAAAAAAk5hbWUADQAAAExpbmtEYXRhTGlzdAAQVmVyc2lvbgABAAAACUxhc3RXcml0ZQDh+ya+kQEAAAACAP////9wAHAAAAAFX2lkABAAAAAEJdw6avDvBEyQV7b1FYT0gwNEYXRhABYAAAACUGVyc29uYWxJZAABAAAAAAACTmFtZQALAAAAUGVyc29uYWxJZAAQVmVyc2lvbgAAAAAACUxhc3RXcml0ZQD6+y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16308467"/>
  <p:tag name="EMPOWERCHARTSPROPERTIES_SLOT" val="B"/>
  <p:tag name="RUNTIME_ID" val="9ff83e72-4fb1-4842-9496-cb1a15078d8b"/>
</p:tagLst>
</file>

<file path=ppt/tags/tag132.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wD///////////////////////////////////////////////////////////////////////////////////////////////////////////////////////////////////////////////////////////////////////////////////////////////////////////////////////////////////////////////////////////////////////////////////////////////////////////////////////////////////////////////////////////////////////////////////////////////////////////////////////////////////////////////////////////////////////////////8BACAA////////////////AAAO////////AwAAAAQA////////////////////////////////////////////////////////////////////////////////////////////////////////////////////////////////////////////////////////////////////////////////////////////////////////////////////////////////////////////////////////////////////////////////////////////////////////////////////////////////////////////////////////////////////////////////////////////////////////////////////////////////////////////////////////////////////////////////////////////////////////////////////////AgACAP///////wUAAAACABAAC0E6niUM78NKqaRxXKQRLGkEAAAAAAADAAAAAAADAAAAAwADAAAAAAADAAAAAwADAAMA////////BQAAAAMAEAALTNfNmBB0yUWZY1pBO4eLvAQAAAABAAMAAAACAAMAAAAEAAMAAAACAP///////wMAAAAAAP///////wQAAQD///////8FAAAABAAQAAtDf1a0kgCMRLEwR2CxY4XW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TqeJQzvw0qppHFcpBEsaQREYXRhAAUAAAAAAk5hbWUADQAAAExpbmtEYXRhTGlzdAAQVmVyc2lvbgABAAAACUxhc3RXcml0ZQAj/Ca+kQEAAAABAP////9hAGEAAAAFX2lkABAAAAAETNfNmBB0yUWZY1pBO4eLvAREYXRhAAUAAAAAAk5hbWUADQAAAExpbmtEYXRhTGlzdAAQVmVyc2lvbgAAAAAACUxhc3RXcml0ZQAi/Ca+kQEAAAACAP////9wAHAAAAAFX2lkABAAAAAEQ39WtJIAjESxMEdgsWOF1gNEYXRhABYAAAACUGVyc29uYWxJZAABAAAAAAACTmFtZQALAAAAUGVyc29uYWxJZAAQVmVyc2lvbgAAAAAACUxhc3RXcml0ZQA//C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EAIAH///////////////8AAA7///////8FAAAABAD///////////////////////////////////////////////////////////////////////////////////////////////////////////////////////////////////////////////////////////////////////////////////////////////////////////////////////////////////////////////////////////////////////////////////////////////////////////////////////////////////////////////////////////////////////////////////////////////////////////////////////////////////////////////////////////////////////////////////////////////////////////////////////8CAAIBAwAAAAIA////////DgAGTGlua0RhdGFMaXN0XzEEAAAAAAAFAAAAAwAFAAAABAAFAAAAAwAFAAAABAADAAMBAwAAAAMA////////DgAGTGlua0RhdGFMaXN0XzAEAAAAAQAFAAAAAAAFAAAAAgAFAAAAAAAFAAAAAgAFAAAAAAAFAAAABAAEAAMBAwAAAAQA////////DAAGUGVyc29uYWxJZF8wBAAAAAIABQAAAAIABQAAAAEABQAAAAI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16987978"/>
  <p:tag name="EMPOWERCHARTSPROPERTIES_SLOT" val="B"/>
  <p:tag name="RUNTIME_ID" val="87ddf5b1-b1b4-40e7-b045-657a45c5dd16"/>
</p:tagLst>
</file>

<file path=ppt/tags/tag133.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gD///////////////////////////////////////////////////////////////////////////////////////////////////////////////////////////////////////////////////////////////////////////////////////////////////////////////////////////////////////////////////////////////////////////////////////////////////////////////////////////////////////////////////////////////////////////////////////////////////////////////////////////////////////////////////////////////////////////////8BACAA////////////////AAAO////////AwAAAAMA////////////////////////////////////////////////////////////////////////////////////////////////////////////////////////////////////////////////////////////////////////////////////////////////////////////////////////////////////////////////////////////////////////////////////////////////////////////////////////////////////////////////////////////////////////////////////////////////////////////////////////////////////////////////////////////////////////////////////////////////////////////////////////AgADAP///////wUAAAACABAAC8gGG1oOfgNMiS3ehIQ7JMQEAAAAAAADAAAAAAADAAAABAADAAAAAAADAAAABAADAAAAAAD///////8DAAEA////////BQAAAAMAEAAL6lETfp+Df0yCezXFDdWNxgQAAAABAAMAAAAEAAMAAAABAAQAAgD///////8FAAAABAAQAAtZp4FpmDE6SYfujc1zpWIbBAAAAAIAAwAAAAI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AYbWg5+A0yJLd6EhDskxAREYXRhAAUAAAAAAk5hbWUADQAAAExpbmtEYXRhTGlzdAAQVmVyc2lvbgAAAAAACUxhc3RXcml0ZQBl/Ca+kQEAAAABAP////9hAGEAAAAFX2lkABAAAAAE6lETfp+Df0yCezXFDdWNxgREYXRhAAUAAAAAAk5hbWUADQAAAExpbmtEYXRhTGlzdAAQVmVyc2lvbgABAAAACUxhc3RXcml0ZQBm/Ca+kQEAAAACAP////9wAHAAAAAFX2lkABAAAAAEWaeBaZgxOkmH7o3Nc6ViGwNEYXRhABYAAAACUGVyc29uYWxJZAABAAAAAAACTmFtZQALAAAAUGVyc29uYWxJZAAQVmVyc2lvbgAAAAAACUxhc3RXcml0ZQB8/C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17590048"/>
  <p:tag name="EMPOWERCHARTSPROPERTIES_SLOT" val="B"/>
  <p:tag name="RUNTIME_ID" val="6df4059c-472c-4057-a25d-63319fae754b"/>
</p:tagLst>
</file>

<file path=ppt/tags/tag134.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yjWHEXOqNJEkGfXq0I7g8QEAAAAAAADAAAAAAADAAAAAwADAAAAAAADAAAAAwADAAIA////////BQAAAAMAEAALYZtzWP+PB0ekSZTGYaIeMwQAAAABAAMAAAACAAMAAAAEAAMAAAACAP///////wQAAQD///////8FAAAABAAQAAtw+hyygdurQZ4aaKfrex+U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NYcRc6o0kSQZ9erQjuDxAREYXRhAAUAAAAAAk5hbWUADQAAAExpbmtEYXRhTGlzdAAQVmVyc2lvbgAAAAAACUxhc3RXcml0ZQCf/Ca+kQEAAAABAP////9hAGEAAAAFX2lkABAAAAAEYZtzWP+PB0ekSZTGYaIeMwREYXRhAAUAAAAAAk5hbWUADQAAAExpbmtEYXRhTGlzdAAQVmVyc2lvbgABAAAACUxhc3RXcml0ZQCg/Ca+kQEAAAACAP////9wAHAAAAAFX2lkABAAAAAEcPocsoHbq0GeGmin63sflANEYXRhABYAAAACUGVyc29uYWxJZAABAAAAAAACTmFtZQALAAAAUGVyc29uYWxJZAAQVmVyc2lvbgAAAAAACUxhc3RXcml0ZQC1/C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EAIAH///////////////8AAA7///////8FAAAABAD///////////////////////////////////////////////////////////////////////////////////////////////////////////////////////////////////////////////////////////////////////////////////////////////////////////////////////////////////////////////////////////////////////////////////////////////////////////////////////////////////////////////////////////////////////////////////////////////////////////////////////////////////////////////////////////////////////////////////////////////////////////////////////8CAAIBAwAAAAIA////////DgAGTGlua0RhdGFMaXN0XzAEAAAAAAAFAAAAAAAFAAAAAwAFAAAAAAAFAAAAAwADAAIBAwAAAAMA////////DgAGTGlua0RhdGFMaXN0XzEEAAAAAQAFAAAAAgAFAAAABAAFAAAAAg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18221198"/>
  <p:tag name="EMPOWERCHARTSPROPERTIES_SLOT" val="B"/>
  <p:tag name="RUNTIME_ID" val="ee00393b-36dc-4a20-a7ed-ae4e8ba1af29"/>
</p:tagLst>
</file>

<file path=ppt/tags/tag135.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gD///////////////////////////////////////////////////////////////////////////////////////////////////////////////////////////////////////////////////////////////////////////////////////////////////////////////////////////////////////////////////////////////////////////////////////////////////////////////////////////////////////////////////////////////////////////////////////////////////////////////////////////////////////////////////////////////////////////////8BACAA////////////////AAAO////////AwAAAAQA////////////////////////////////////////////////////////////////////////////////////////////////////////////////////////////////////////////////////////////////////////////////////////////////////////////////////////////////////////////////////////////////////////////////////////////////////////////////////////////////////////////////////////////////////////////////////////////////////////////////////////////////////////////////////////////////////////////////////////////////////////////////////////AgADAP///////wUAAAACABAAC3g//m5/GxtHvGDudZARdwgEAAAAAAADAAAAAAADAAAAAwADAAAAAAADAAAAAwADAAAAAAD///////8DAAIA////////BQAAAAMAEAALVgNPtaSEokmbigP6z0kS4wQAAAABAAMAAAACAAMAAAAEAAMAAAACAP///////wQAAQD///////8FAAAABAAQAAv0HZPFDSRtTY9zjtyXYGLR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D/+bn8bG0e8YO51kBF3CAREYXRhAAUAAAAAAk5hbWUADQAAAExpbmtEYXRhTGlzdAAQVmVyc2lvbgABAAAACUxhc3RXcml0ZQDf/Ca+kQEAAAABAP////9hAGEAAAAFX2lkABAAAAAEVgNPtaSEokmbigP6z0kS4wREYXRhAAUAAAAAAk5hbWUADQAAAExpbmtEYXRhTGlzdAAQVmVyc2lvbgAAAAAACUxhc3RXcml0ZQDf/Ca+kQEAAAACAP////9wAHAAAAAFX2lkABAAAAAE9B2TxQ0kbU2Pc47cl2Bi0QNEYXRhABYAAAACUGVyc29uYWxJZAABAAAAAAACTmFtZQALAAAAUGVyc29uYWxJZAAQVmVyc2lvbgAAAAAACUxhc3RXcml0ZQD9/C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18893790"/>
  <p:tag name="EMPOWERCHARTSPROPERTIES_SLOT" val="B"/>
  <p:tag name="RUNTIME_ID" val="ff67f4a5-3a55-4993-9efd-460b47de2752"/>
</p:tagLst>
</file>

<file path=ppt/tags/tag136.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wD///////8DAAAAAwD///////8DAAAAAwD///////////////////////////////////////////////////////////////////////////////////////////////////////////////////////////////////////////////////////////////////////////////////////////////////////////////////////////////////////////////////////////////////////////////////////////////////////////////////////////////////////////////////////////////////////////////////////////////////////////////////////////////////////////////////////////////8BACAA////////////////AAAO////////AwAAAAMA////////////////////////////////////////////////////////////////////////////////////////////////////////////////////////////////////////////////////////////////////////////////////////////////////////////////////////////////////////////////////////////////////////////////////////////////////////////////////////////////////////////////////////////////////////////////////////////////////////////////////////////////////////////////////////////////////////////////////////////////////////////////////////AgABAP///////wUAAAACABAAC32AlTWrh/ZElCA74qmTnBAEAAAAAAADAAAAAAADAAAABAADAAQA////////BQAAAAMAEAALpH65tvswgUmtyNt1gTV7YQQAAAABAAMAAAAEAAMAAAABAAMAAAAAAP///////wMAAAAAAP///////wMAAAAAAP///////wQAAQD///////8FAAAABAAQAAvWPIY3W+SmTKOIQa+e2c8X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YCVNauH9kSUIDviqZOcEAREYXRhAAUAAAAAAk5hbWUADQAAAExpbmtEYXRhTGlzdAAQVmVyc2lvbgAAAAAACUxhc3RXcml0ZQAr/Sa+kQEAAAABAP////9hAGEAAAAFX2lkABAAAAAEpH65tvswgUmtyNt1gTV7YQREYXRhAAUAAAAAAk5hbWUADQAAAExpbmtEYXRhTGlzdAAQVmVyc2lvbgABAAAACUxhc3RXcml0ZQAt/Sa+kQEAAAACAP////9wAHAAAAAFX2lkABAAAAAE1jyGN1vkpkyjiEGvntnPFwNEYXRhABYAAAACUGVyc29uYWxJZAABAAAAAAACTmFtZQALAAAAUGVyc29uYWxJZAAQVmVyc2lvbgAAAAAACUxhc3RXcml0ZQBL/Sa+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DAP///////wUAAAADAP///////////////////////////////////////////////////////////////////////////////////////////////////////////////////////////////////////////////////////////////////////////////////////////////////////////////////////////////////////////////////////////////////////////////////////////////////////////////////////////////////////////////////////////////////////////////////////////////////////////////////////////////////////////////////////////////wEAIAH///////////////8AAA7///////8FAAAABAD///////////////////////////////////////////////////////////////////////////////////////////////////////////////////////////////////////////////////////////////////////////////////////////////////////////////////////////////////////////////////////////////////////////////////////////////////////////////////////////////////////////////////////////////////////////////////////////////////////////////////////////////////////////////////////////////////////////////////////////////////////////////////////8CAAEBAwAAAAIA////////DgAGTGlua0RhdGFMaXN0XzAEAAAAAAAFAAAAAAAFAAAAAwADAAQBAwAAAAMA////////DgAGTGlua0RhdGFMaXN0XzEEAAAAAQAFAAAAAgAFAAAABAA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9119715784"/>
  <p:tag name="EMPOWERCHARTSPROPERTIES_SLOT" val="B"/>
  <p:tag name="RUNTIME_ID" val="bfe18b34-2b1b-4469-bda2-7fee7fd4eaab"/>
</p:tagLst>
</file>

<file path=ppt/tags/tag137.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2gsAAAAAAAAAAAAAIAD///////////////8AAAD///////////////8DAAAAAgD///////8DAAAAAgD///////8DAAAAAgD///////////////////////////////////////////////////////////////////////////////////////////////////////////////////////////////////////////////////////////////////////////////////////////////////////////////////////////////////////////////////////////////////////////////////////////////////////////////////////////////////////////////////////////////////////////////////////////////////////////////////////////////////////////////////////////////////////////////8BACAA////////////////AAAO////////AwAAAAMA////////////////////////////////////////////////////////////////////////////////////////////////////////////////////////////////////////////////////////////////////////////////////////////////////////////////////////////////////////////////////////////////////////////////////////////////////////////////////////////////////////////////////////////////////////////////////////////////////////////////////////////////////////////////////////////////////////////////////////////////////////////////////////AgADAP///////wUAAAACABAAC9gWAB4zR/hCvXhgcUjTzAoEAAAAAAADAAAAAAADAAAABAADAAAAAAADAAAABAADAAAAAAADAAAABAADAAIA////////BQAAAAMAEAALwXh+yS5Zxkyo1qkbiG819AQAAAABAAMAAAAEAAMAAAABAAMAAAAEAP///////wQAAwD///////8FAAAABAAQAAsx+bxqVVzZQ6o9iFltTMyXBAAAAAIAAwAAAAIAAwAAAAMAAwAAAAI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2BYAHjNH+EK9eGBxSNPMCgREYXRhAAUAAAAAAk5hbWUADQAAAExpbmtEYXRhTGlzdAAQVmVyc2lvbgABAAAACUxhc3RXcml0ZQCUgxy+kQEAAAABAP////9hAGEAAAAFX2lkABAAAAAEwXh+yS5Zxkyo1qkbiG819AREYXRhAAUAAAAAAk5hbWUADQAAAExpbmtEYXRhTGlzdAAQVmVyc2lvbgAAAAAACUxhc3RXcml0ZQCPgxy+kQEAAAACAP////9wAHAAAAAFX2lkABAAAAAEMfm8alVc2UOqPYhZbUzMlwNEYXRhABYAAAACUGVyc29uYWxJZAABAAAAAAACTmFtZQALAAAAUGVyc29uYWxJZAAQVmVyc2lvbgAAAAAACUxhc3RXcml0ZQDCgxy+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CAP///////////////////////////////////////////////////////////////////////////////////////////////////////////////////////////////////////////////////////////////////////////////////////////////////////////////////////////////////////////////////////////////////////////////////////////////////////////////////////////////////////////////////////////////////////////////////////////////////////////////////////////////////////////////////////////////////////////////wEAIAH///////////////8AAA7///////8FAAAABAD///////////////////////////////////////////////////////////////////////////////////////////////////////////////////////////////////////////////////////////////////////////////////////////////////////////////////////////////////////////////////////////////////////////////////////////////////////////////////////////////////////////////////////////////////////////////////////////////////////////////////////////////////////////////////////////////////////////////////////////////////////////////////////8CAAMBAwAAAAIA////////DgAGTGlua0RhdGFMaXN0XzEEAAAAAAAFAAAAAwAFAAAABAAFAAAAAwAFAAAABAAFAAAAAAD///////8DAAIBAwAAAAMA////////DgAGTGlua0RhdGFMaXN0XzAEAAAAAQAFAAAAAAAFAAAAAg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2254981578"/>
  <p:tag name="EMPOWERCHARTSPROPERTIES_SLOT" val="B"/>
  <p:tag name="RUNTIME_ID" val="d2f7644e-70a8-47dd-847a-f628190f5067"/>
</p:tagLst>
</file>

<file path=ppt/tags/tag138.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gsAAAAAAAAAAAAAIAD///////////////8AAAD///////////////8DAAAABAD///////8DAAAABAD///////////////////////////////////////////////////////////////////////////////////////////////////////////////////////////////////////////////////////////////////////////////////////////////////////////////////////////////////////////////////////////////////////////////////////////////////////////////////////////////////////////////////////////////////////////////////////////////////////////////////////////////////////////////////////////////////////////////////////////////8BACAA////////////////AAAO////////AwAAAAMA////////////////////////////////////////////////////////////////////////////////////////////////////////////////////////////////////////////////////////////////////////////////////////////////////////////////////////////////////////////////////////////////////////////////////////////////////////////////////////////////////////////////////////////////////////////////////////////////////////////////////////////////////////////////////////////////////////////////////////////////////////////////////////AgABAP///////wUAAAACABAAC5FvetfuRC1DvcoiktVbp48EAAAAAAADAAAABAADAAAAAwADAAIA////////BQAAAAMAEAALd2fr5PjGXUSrrhPDQqSyngQAAAABAAMAAAACAAMAAAABAAMAAAAEAP///////wQAAgD///////8FAAAABAAQAAvTndCggRUuQb+sild44WXC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W961+5ELUO9yiKS1VunjwREYXRhAAUAAAAAAk5hbWUADQAAAExpbmtEYXRhTGlzdAAQVmVyc2lvbgAAAAAACUxhc3RXcml0ZQAvgxy+kQEAAAABAP////9hAGEAAAAFX2lkABAAAAAEd2fr5PjGXUSrrhPDQqSyngREYXRhAAUAAAAAAk5hbWUADQAAAExpbmtEYXRhTGlzdAAQVmVyc2lvbgABAAAACUxhc3RXcml0ZQAzgxy+kQEAAAACAP////9wAHAAAAAFX2lkABAAAAAE053QoIEVLkG/rIpXeOFlwgNEYXRhABYAAAACUGVyc29uYWxJZAABAAAAAAACTmFtZQALAAAAUGVyc29uYWxJZAAQVmVyc2lvbgAAAAAACUxhc3RXcml0ZQBOgxy+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DAP///////wUAAAAEAP///////wUAAAAEAP///////////////////////////////////////////////////////////////////////////////////////////////////////////////////////////////////////////////////////////////////////////////////////////////////////////////////////////////////////////////////////////////////////////////////////////////////////////////////////////////////////////////////////////////////////////////////////////////////////////////////////////////////////////////////////////////wEAIAH///////////////8AAA7///////8FAAAABAD///////////////////////////////////////////////////////////////////////////////////////////////////////////////////////////////////////////////////////////////////////////////////////////////////////////////////////////////////////////////////////////////////////////////////////////////////////////////////////////////////////////////////////////////////////////////////////////////////////////////////////////////////////////////////////////////////////////////////////////////////////////////////////8CAAEBAwAAAAIA////////DgAGTGlua0RhdGFMaXN0XzAEAAAAAAAFAAAAAAAFAAAAAwADAAIBAwAAAAMA////////DgAGTGlua0RhdGFMaXN0XzEEAAAAAQAFAAAAAgAFAAAABAAFAAAAAAAFAAAABAAEAAQBAwAAAAQA////////DAAGUGVyc29uYWxJZF8wBAAAAAIABQAAAAMABQAAAAE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2253845600"/>
  <p:tag name="EMPOWERCHARTSPROPERTIES_SLOT" val="B"/>
  <p:tag name="RUNTIME_ID" val="c0ff2f85-4945-43b8-a3cb-95131af9c188"/>
</p:tagLst>
</file>

<file path=ppt/tags/tag139.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wUA5gsAAAAAAAAAAAAAIAD///////////////8AAAD///////////////8DAAAABAD///////8DAAAABAD///////8DAAAABAD///////8DAAAABAD///////////////////////////////////////////////////////////////////////////////////////////////////////////////////////////////////////////////////////////////////////////////////////////////////////////////////////////////////////////////////////////////////////////////////////////////////////////////////////////////////////////////////////////////////////////////////////////////////////////////////////////////////////////////////////////////8BACAA////////////////AAAO////////AwAAAAMA////////////////////////////////////////////////////////////////////////////////////////////////////////////////////////////////////////////////////////////////////////////////////////////////////////////////////////////////////////////////////////////////////////////////////////////////////////////////////////////////////////////////////////////////////////////////////////////////////////////////////////////////////////////////////////////////////////////////////////////////////////////////////////AgABAP///////wUAAAACABAAC5O4W1DuN+RHrLO5ZCsfSBoEAAAAAAADAAAABAADAAAAAwADAAIA////////BQAAAAMAEAAL73W/vFXix0O81G5i2C2QygQAAAABAAMAAAACAAMAAAABAAMAAAAEAP///////wQABAD///////8FAAAABAAQAAsSMtJBlzvkSJk+ODjUM+e1BAAAAAIAAwAAAAAAAwAAAAIAAwAAAAAAAwAAAAM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7hbUO435Eess7lkKx9IGgREYXRhAAUAAAAAAk5hbWUADQAAAExpbmtEYXRhTGlzdAAQVmVyc2lvbgABAAAACUxhc3RXcml0ZQBwnhy+kQEAAAABAP////9hAGEAAAAFX2lkABAAAAAE73W/vFXix0O81G5i2C2QygREYXRhAAUAAAAAAk5hbWUADQAAAExpbmtEYXRhTGlzdAAQVmVyc2lvbgAAAAAACUxhc3RXcml0ZQBvnhy+kQEAAAACAP////9wAHAAAAAFX2lkABAAAAAEEjLSQZc75EiZPjg41DPntQNEYXRhABYAAAACUGVyc29uYWxJZAABAAAAAAACTmFtZQALAAAAUGVyc29uYWxJZAAQVmVyc2lvbgAAAAAACUxhc3RXcml0ZQCLnhy+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2323605351"/>
  <p:tag name="EMPOWERCHARTSPROPERTIES_SLOT" val="B"/>
  <p:tag name="RUNTIME_ID" val="4417c1bd-a545-4947-b77c-49e47ee2150a"/>
</p:tagLst>
</file>

<file path=ppt/tags/tag14.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gD///////////////////////////////////////////////////////////////////////////////////////////////////////////////////////////////////////////////////////////////////////////////////////////////////////////////////////////////////////////////////////////////////////////////////////////////////////////////////////////////////////////////////////////////////////////////////////////////////////////////////////////////////////////////////////////////////////////////8BACAA////////////////AAAO////////AwAAAAMA////////////////////////////////////////////////////////////////////////////////////////////////////////////////////////////////////////////////////////////////////////////////////////////////////////////////////////////////////////////////////////////////////////////////////////////////////////////////////////////////////////////////////////////////////////////////////////////////////////////////////////////////////////////////////////////////////////////////////////////////////////////////////////AgADAP///////wUAAAACABAAC3UXiXaqdpZLuMhtBSKzBAgEAAAAAAADAAAAAAADAAAABAADAAAAAAADAAAAAwADAAAAAAD///////8DAAIA////////BQAAAAMAEAALRnZ42AtWxkGfov81VjCreQQAAAABAAMAAAAEAAMAAAABAAMAAAACAP///////wQAAQD///////8FAAAABAAQAAu4crV9KWb0SpylKJJQdwN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ReJdqp2lku4yG0FIrMECAREYXRhAAUAAAAAAk5hbWUADQAAAExpbmtEYXRhTGlzdAAQVmVyc2lvbgABAAAACUxhc3RXcml0ZQBbwwHujwEAAAABAP////9hAGEAAAAFX2lkABAAAAAERnZ42AtWxkGfov81VjCreQREYXRhAAUAAAAAAk5hbWUADQAAAExpbmtEYXRhTGlzdAAQVmVyc2lvbgAAAAAACUxhc3RXcml0ZQBbwwHujwEAAAACAP////9wAHAAAAAFX2lkABAAAAAEuHK1fSlm9EqcpSiSUHcDawNEYXRhABYAAAACUGVyc29uYWxJZAABAAAAAAACTmFtZQALAAAAUGVyc29uYWxJZAAQVmVyc2lvbgAAAAAACUxhc3RXcml0ZQB7wwHu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532818441137821"/>
  <p:tag name="EMPOWERCHARTSPROPERTIES_SLOT" val="B"/>
  <p:tag name="RUNTIME_ID" val="9a28358c-0cca-4d34-91f9-e6c02ca9fde2"/>
</p:tagLst>
</file>

<file path=ppt/tags/tag140.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2gsAAAAAAAAAAAAAIAD///////////////8AAAD///////////////8DAAAABAD///////8DAAAABAD///////8DAAAABAD///////////////////////////////////////////////////////////////////////////////////////////////////////////////////////////////////////////////////////////////////////////////////////////////////////////////////////////////////////////////////////////////////////////////////////////////////////////////////////////////////////////////////////////////////////////////////////////////////////////////////////////////////////////////////////////////////////////////8BACAA////////////////AAAO////////AwAAAAMA////////////////////////////////////////////////////////////////////////////////////////////////////////////////////////////////////////////////////////////////////////////////////////////////////////////////////////////////////////////////////////////////////////////////////////////////////////////////////////////////////////////////////////////////////////////////////////////////////////////////////////////////////////////////////////////////////////////////////////////////////////////////////////AgACAP///////wUAAAACABAAC+IShLVs6mdJvX5kVivb1aIEAAAAAAADAAAABAADAAAAAwADAAAABAADAAAAAwADAAMA////////BQAAAAMAEAALNlqz+TbxZU6ZOG+I4eM+WwQAAAABAAMAAAACAAMAAAABAAMAAAACAP///////wMAAAAEAP///////wQAAwD///////8FAAAABAAQAAvjmoAOmPiXToSjN6IX6p8QBAAAAAIAAwAAAAAAAw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4hKEtWzqZ0m9fmRWK9vVogREYXRhAAUAAAAAAk5hbWUADQAAAExpbmtEYXRhTGlzdAAQVmVyc2lvbgABAAAACUxhc3RXcml0ZQDBnhy+kQEAAAABAP////9hAGEAAAAFX2lkABAAAAAENlqz+TbxZU6ZOG+I4eM+WwREYXRhAAUAAAAAAk5hbWUADQAAAExpbmtEYXRhTGlzdAAQVmVyc2lvbgAAAAAACUxhc3RXcml0ZQC/nhy+kQEAAAACAP////9wAHAAAAAFX2lkABAAAAAE45qADpj4l06EozeiF+qfEANEYXRhABYAAAACUGVyc29uYWxJZAABAAAAAAACTmFtZQALAAAAUGVyc29uYWxJZAAQVmVyc2lvbgAAAAAACUxhc3RXcml0ZQDlnhy+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2324444887"/>
  <p:tag name="EMPOWERCHARTSPROPERTIES_SLOT" val="B"/>
  <p:tag name="RUNTIME_ID" val="b4a6a58b-0f5d-4bde-9c07-eb94f67fb8e3"/>
</p:tagLst>
</file>

<file path=ppt/tags/tag141.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wD///////8DAAAAAwD///////////////////////////////////////////////////////////////////////////////////////////////////////////////////////////////////////////////////////////////////////////////////////////////////////////////////////////////////////////////////////////////////////////////////////////////////////////////////////////////////////////////////////////////////////////////////////////////////////////////////////////////////////////////////////////////////////////////8BACAA////////////////AAAO////////AwAAAAQA////////////////////////////////////////////////////////////////////////////////////////////////////////////////////////////////////////////////////////////////////////////////////////////////////////////////////////////////////////////////////////////////////////////////////////////////////////////////////////////////////////////////////////////////////////////////////////////////////////////////////////////////////////////////////////////////////////////////////////////////////////////////////////AgABAP///////wUAAAACABAAC7KIWq/htMJKqcyOpXxmN7wEAAAAAAADAAAAAAADAAAAAwADAAMA////////BQAAAAMAEAALu7C26gt8Sk2DoCfz+k/eLAQAAAABAAMAAAACAAMAAAAEAAMAAAAAAP///////wMAAAAAAP///////wQAAQD///////8FAAAABAAQAAvZFGLrhSzVRpQNvAOQhZL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ohar+G0wkqpzI6lfGY3vAREYXRhAAUAAAAAAk5hbWUADQAAAExpbmtEYXRhTGlzdAAQVmVyc2lvbgABAAAACUxhc3RXcml0ZQDSrRy+kQEAAAABAP////9hAGEAAAAFX2lkABAAAAAEu7C26gt8Sk2DoCfz+k/eLAREYXRhAAUAAAAAAk5hbWUADQAAAExpbmtEYXRhTGlzdAAQVmVyc2lvbgAAAAAACUxhc3RXcml0ZQDRrRy+kQEAAAACAP////9wAHAAAAAFX2lkABAAAAAE2RRi64Us1UaUDbwDkIWSywNEYXRhABYAAAACUGVyc29uYWxJZAABAAAAAAACTmFtZQALAAAAUGVyc29uYWxJZAAQVmVyc2lvbgAAAAAACUxhc3RXcml0ZQDsrRy+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EBAwAAAAIA////////DgAGTGlua0RhdGFMaXN0XzEEAAAAAAAFAAAAAwAFAAAABAADAAMBAwAAAAMA////////DgAGTGlua0RhdGFMaXN0XzAEAAAAAQAFAAAAAAAFAAAAAgAFAAAAAAAFAAAABAAFAAAAAAD///////8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2363018892"/>
  <p:tag name="EMPOWERCHARTSPROPERTIES_SLOT" val="B"/>
  <p:tag name="RUNTIME_ID" val="724a191c-3cce-4e0a-97b5-564cc214f1e9"/>
</p:tagLst>
</file>

<file path=ppt/tags/tag142.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8gsAAAAAAAAAAAAAIAD///////////////8AAAD///////////////8DAAAAAgD///////8DAAAAAgD///////////////////////////////////////////////////////////////////////////////////////////////////////////////////////////////////////////////////////////////////////////////////////////////////////////////////////////////////////////////////////////////////////////////////////////////////////////////////////////////////////////////////////////////////////////////////////////////////////////////////////////////////////////////////////////////////////////////////////////////8BACAA////////////////AAAO////////AwAAAAQA////////////////////////////////////////////////////////////////////////////////////////////////////////////////////////////////////////////////////////////////////////////////////////////////////////////////////////////////////////////////////////////////////////////////////////////////////////////////////////////////////////////////////////////////////////////////////////////////////////////////////////////////////////////////////////////////////////////////////////////////////////////////////////AgACAP///////wUAAAACABAAC46r8Ct5Pq5LurDfv3WTBbsEAAAAAAADAAAAAAADAAAAAwADAAAAAAADAAAAAwADAAIA////////BQAAAAMAEAALJ3CARBHZtUy/3IKL3af17gQAAAABAAMAAAACAAMAAAAEAAMAAAACAAMAAAAEAAQAAgD///////8FAAAABAAQAAvUj8l0mSQDRIY7z4L/02gE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qvwK3k+rku6sN+/dZMFuwREYXRhAAUAAAAAAk5hbWUADQAAAExpbmtEYXRhTGlzdAAQVmVyc2lvbgABAAAACUxhc3RXcml0ZQAjrhy+kQEAAAABAP////9hAGEAAAAFX2lkABAAAAAEJ3CARBHZtUy/3IKL3af17gREYXRhAAUAAAAAAk5hbWUADQAAAExpbmtEYXRhTGlzdAAQVmVyc2lvbgAAAAAACUxhc3RXcml0ZQAirhy+kQEAAAACAP////9wAHAAAAAFX2lkABAAAAAE1I/JdJkkA0SGO8+C/9NoBANEYXRhABYAAAACUGVyc29uYWxJZAABAAAAAAACTmFtZQALAAAAUGVyc29uYWxJZAAQVmVyc2lvbgAAAAAACUxhc3RXcml0ZQA+rhy+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EAP///////////////////////////////////////////////////////////////////////////////////////////////////////////////////////////////////////////////////////////////////////////////////////////////////////////////////////////////////////////////////////////////////////////////////////////////////////////////////////////////////////////////////////////////////////////////////////////////////////////////////////////////////////////////////////////////////////////////wEAIAH///////////////8AAA7///////8FAAAABAD///////////////////////////////////////////////////////////////////////////////////////////////////////////////////////////////////////////////////////////////////////////////////////////////////////////////////////////////////////////////////////////////////////////////////////////////////////////////////////////////////////////////////////////////////////////////////////////////////////////////////////////////////////////////////////////////////////////////////////////////////////////////////////8CAAIBAwAAAAIA////////DgAGTGlua0RhdGFMaXN0XzEEAAAAAAAFAAAAAwAFAAAABAAFAAAAAwAFAAAABAADAAIBAwAAAAMA////////DgAGTGlua0RhdGFMaXN0XzAEAAAAAQAFAAAAAAAFAAAAAg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2363753476"/>
  <p:tag name="EMPOWERCHARTSPROPERTIES_SLOT" val="B"/>
  <p:tag name="RUNTIME_ID" val="a72ac0e6-cf60-4460-a68a-fc59e01d5980"/>
</p:tagLst>
</file>

<file path=ppt/tags/tag143.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ybtNWoU/X9JivPbl7pAfFkEAAAAAAADAAAAAAADAAAABAADAAAAAAD///////8DAAAAAAD///////8DAAAAAAD///////8DAAEA////////BQAAAAMAEAALYRCIwu4xlESj/pHPQInr7wQAAAABAAMAAAAEAAMAAAABAAQAAQD///////8FAAAABAAQAAuC9mOXbfQXRZNM7oapnVWE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u01ahT9f0mK89uXukB8WQREYXRhAAUAAAAAAk5hbWUADQAAAExpbmtEYXRhTGlzdAAQVmVyc2lvbgABAAAACUxhc3RXcml0ZQA1vhy+kQEAAAABAP////9hAGEAAAAFX2lkABAAAAAEYRCIwu4xlESj/pHPQInr7wREYXRhAAUAAAAAAk5hbWUADQAAAExpbmtEYXRhTGlzdAAQVmVyc2lvbgAAAAAACUxhc3RXcml0ZQA0vhy+kQEAAAACAP////9wAHAAAAAFX2lkABAAAAAEgvZjl230F0WTTO6GqZ1VhANEYXRhABYAAAACUGVyc29uYWxJZAABAAAAAAACTmFtZQALAAAAUGVyc29uYWxJZAAQVmVyc2lvbgAAAAAACUxhc3RXcml0ZQBhvhy+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CAP///////wUAAAACAP///////wUAAAACAP///////////////////////////////////////////////////////////////////////////////////////////////////////////////////////////////////////////////////////////////////////////////////////////////////////////////////////////////////////////////////////////////////////////////////////////////////////////////////////////////////////////////////////////////////////////////////////////////////////////////////////////////////////////////////////////////wEAIAH///////////////8AAA7///////8FAAAABAD///////////////////////////////////////////////////////////////////////////////////////////////////////////////////////////////////////////////////////////////////////////////////////////////////////////////////////////////////////////////////////////////////////////////////////////////////////////////////////////////////////////////////////////////////////////////////////////////////////////////////////////////////////////////////////////////////////////////////////////////////////////////////////8CAAQBAwAAAAIA////////DgAGTGlua0RhdGFMaXN0XzEEAAAAAAAFAAAAAwAFAAAABAAFAAAAAAAFAAAABAAFAAAAAAAFAAAABAAFAAAAAAD///////8DAAEBAwAAAAMA////////DgAGTGlua0RhdGFMaXN0XzAEAAAAAQAFAAAAAAAFAAAAAgAEAAMBAwAAAAQA////////DAAGUGVyc29uYWxJZF8wBAAAAAIABQAAAAI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2405036165"/>
  <p:tag name="EMPOWERCHARTSPROPERTIES_SLOT" val="B"/>
  <p:tag name="RUNTIME_ID" val="14ef2f2d-eb9e-4ace-b6e7-47cc2f91084c"/>
</p:tagLst>
</file>

<file path=ppt/tags/tag144.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wD///////8DAAAAAwD///////////////////////////////////////////////////////////////////////////////////////////////////////////////////////////////////////////////////////////////////////////////////////////////////////////////////////////////////////////////////////////////////////////////////////////////////////////////////////////////////////////////////////////////////////////////////////////////////////////////////////////////////////////////////////////////////////////////8BACAA////////////////AAAO////////AwAAAAQA////////////////////////////////////////////////////////////////////////////////////////////////////////////////////////////////////////////////////////////////////////////////////////////////////////////////////////////////////////////////////////////////////////////////////////////////////////////////////////////////////////////////////////////////////////////////////////////////////////////////////////////////////////////////////////////////////////////////////////////////////////////////////////AgABAP///////wUAAAACABAAC9srj0DoxBNOlD2E5x0bqA4EAAAAAAADAAAAAAADAAAAAwADAAMA////////BQAAAAMAEAALzU9D1ACcfk2lkuHgDzxgdwQAAAABAAMAAAACAAMAAAAEAAMAAAAAAP///////wMAAAAAAP///////wQAAQD///////8FAAAABAAQAAvi6yL5hb1wRLuQV9naPFcK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2yuPQOjEE06UPYTnHRuoDgREYXRhAAUAAAAAAk5hbWUADQAAAExpbmtEYXRhTGlzdAAQVmVyc2lvbgABAAAACUxhc3RXcml0ZQCavhy+kQEAAAABAP////9hAGEAAAAFX2lkABAAAAAEzU9D1ACcfk2lkuHgDzxgdwREYXRhAAUAAAAAAk5hbWUADQAAAExpbmtEYXRhTGlzdAAQVmVyc2lvbgAAAAAACUxhc3RXcml0ZQCYvhy+kQEAAAACAP////9wAHAAAAAFX2lkABAAAAAE4usi+YW9cES7kFfZ2jxXCgNEYXRhABYAAAACUGVyc29uYWxJZAABAAAAAAACTmFtZQALAAAAUGVyc29uYWxJZAAQVmVyc2lvbgAAAAAACUxhc3RXcml0ZQC0vhy+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EBAwAAAAIA////////DgAGTGlua0RhdGFMaXN0XzEEAAAAAAAFAAAAAwAFAAAABAADAAMBAwAAAAMA////////DgAGTGlua0RhdGFMaXN0XzAEAAAAAQAFAAAAAAAFAAAAAgAFAAAAAAAFAAAABAAFAAAAAAD///////8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2405900898"/>
  <p:tag name="EMPOWERCHARTSPROPERTIES_SLOT" val="B"/>
  <p:tag name="RUNTIME_ID" val="9fc1bbac-5f24-42d7-862c-0a4b68ae6a6f"/>
</p:tagLst>
</file>

<file path=ppt/tags/tag145.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AgD///////8DAAAAAgD///////////////////////////////////////////////////////////////////////////////////////////////////////////////////////////////////////////////////////////////////////////////////////////////////////////////////////////////////////////////////////////////////////////////////////////////////////////////////////////////////////////////////////////////////////////////////////////////////////////////////////////////////////////////////////////////////////////////8BACAA////////////////AAAO////////AwAAAAMA////////////////////////////////////////////////////////////////////////////////////////////////////////////////////////////////////////////////////////////////////////////////////////////////////////////////////////////////////////////////////////////////////////////////////////////////////////////////////////////////////////////////////////////////////////////////////////////////////////////////////////////////////////////////////////////////////////////////////////////////////////////////////////AgADAP///////wUAAAACABAAC+yPjYXtM0FJl/WW3iCKe5cEAAAAAAADAAAABAADAAAAAwADAAAAAAADAAAAAwADAAAAAAD///////8DAAIA////////BQAAAAMAEAALH6Xtq/Ra60iweP89fHXLcgQAAAABAAMAAAACAAMAAAABAAMAAAACAP///////wQAAQD///////8FAAAABAAQAAsmTtIFJ/dmTaTGpEze/BLc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7I+Nhe0zQUmX9ZbeIIp7lwREYXRhAAUAAAAAAk5hbWUADQAAAExpbmtEYXRhTGlzdAAQVmVyc2lvbgAAAAAACUxhc3RXcml0ZQA2zhy+kQEAAAABAP////9hAGEAAAAFX2lkABAAAAAEH6Xtq/Ra60iweP89fHXLcgREYXRhAAUAAAAAAk5hbWUADQAAAExpbmtEYXRhTGlzdAAQVmVyc2lvbgABAAAACUxhc3RXcml0ZQA3zhy+kQEAAAACAP////9wAHAAAAAFX2lkABAAAAAEJk7SBSf3Zk2kxqRM3vwS3ANEYXRhABYAAAACUGVyc29uYWxJZAABAAAAAAACTmFtZQALAAAAUGVyc29uYWxJZAAQVmVyc2lvbgAAAAAACUxhc3RXcml0ZQBUzhy+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CAP///////////////////////////////////////////////////////////////////////////////////////////////////////////////////////////////////////////////////////////////////////////////////////////////////////////////////////////////////////////////////////////////////////////////////////////////////////////////////////////////////////////////////////////////////////////////////////////////////////////////////////////////////////////////////////////////////////////////wEAIAH///////////////8AAA7///////8FAAAABAD///////////////////////////////////////////////////////////////////////////////////////////////////////////////////////////////////////////////////////////////////////////////////////////////////////////////////////////////////////////////////////////////////////////////////////////////////////////////////////////////////////////////////////////////////////////////////////////////////////////////////////////////////////////////////////////////////////////////////////////////////////////////////////8CAAMBAwAAAAIA////////DgAGTGlua0RhdGFMaXN0XzAEAAAAAAAFAAAAAAAFAAAAAwAFAAAAAAAFAAAAAwAFAAAAAAAFAAAABAADAAIBAwAAAAMA////////DgAGTGlua0RhdGFMaXN0XzEEAAAAAQAFAAAAAgAFAAAABAAFAAAAAgAFAAAABAAEAAMBAwAAAAQA////////DAAGUGVyc29uYWxJZF8wBAAAAAIABQAAAAMABQAAAAEABQAAAAM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2445859956"/>
  <p:tag name="EMPOWERCHARTSPROPERTIES_SLOT" val="B"/>
  <p:tag name="RUNTIME_ID" val="a354642e-b8af-4efe-b01d-ee28d04eebf6"/>
</p:tagLst>
</file>

<file path=ppt/tags/tag146.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BAD///////////////////////////////////////////////////////////////////////////////////////////////////////////////////////////////////////////////////////////////////////////////////////////////////////////////////////////////////////////////////////////////////////////////////////////////////////////////////////////////////////////////////////////////////////////////////////////////////////////////////////////////////////////////////////////////////////////////////////////////////////////////8BACAA////////////////AAAO////////AwAAAAMA////////////////////////////////////////////////////////////////////////////////////////////////////////////////////////////////////////////////////////////////////////////////////////////////////////////////////////////////////////////////////////////////////////////////////////////////////////////////////////////////////////////////////////////////////////////////////////////////////////////////////////////////////////////////////////////////////////////////////////////////////////////////////////AgABAP///////wUAAAACABAAC/iqxmMhjZxFrBF7zCSuUw0EAAAAAAADAAAABAADAAAAAwADAAEA////////BQAAAAMAEAALd3mHn47pR0qK2aFC80Zb8wQAAAABAAMAAAACAAMAAAABAAQAAQD///////8FAAAABAAQAAu0sMpAQfM6TbnvQ1S3xmBF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rGYyGNnEWsEXvMJK5TDQREYXRhAAUAAAAAAk5hbWUADQAAAExpbmtEYXRhTGlzdAAQVmVyc2lvbgABAAAACUxhc3RXcml0ZQCEzhy+kQEAAAABAP////9hAGEAAAAFX2lkABAAAAAEd3mHn47pR0qK2aFC80Zb8wREYXRhAAUAAAAAAk5hbWUADQAAAExpbmtEYXRhTGlzdAAQVmVyc2lvbgAAAAAACUxhc3RXcml0ZQB/zhy+kQEAAAACAP////9wAHAAAAAFX2lkABAAAAAEtLDKQEHzOk2570NUt8ZgRQNEYXRhABYAAAACUGVyc29uYWxJZAABAAAAAAACTmFtZQALAAAAUGVyc29uYWxJZAAQVmVyc2lvbgAAAAAACUxhc3RXcml0ZQCqzhy+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2446720131"/>
  <p:tag name="EMPOWERCHARTSPROPERTIES_SLOT" val="B"/>
  <p:tag name="RUNTIME_ID" val="07947703-ad35-415c-b4b3-272fdc390dd8"/>
</p:tagLst>
</file>

<file path=ppt/tags/tag147.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gD///////////////////////////////////////////////////////////////////////////////////////////////////////////////////////////////////////////////////////////////////////////////////////////////////////////////////////////////////////////////////////////////////////////////////////////////////////////////////////////////////////////////////////////////////////////////////////////////////////////////////////////////////////////////////////////////////////////////8BACAA////////////////AAAO////////AwAAAAQA////////////////////////////////////////////////////////////////////////////////////////////////////////////////////////////////////////////////////////////////////////////////////////////////////////////////////////////////////////////////////////////////////////////////////////////////////////////////////////////////////////////////////////////////////////////////////////////////////////////////////////////////////////////////////////////////////////////////////////////////////////////////////////AgADAP///////wUAAAACABAACxtEBMoqp2JPppq7MUi/hVcEAAAAAAADAAAAAAADAAAAAwADAAAAAAADAAAAAwADAAAAAAD///////8DAAIA////////BQAAAAMAEAALMn3493A4jk6+O0NZo5yS4QQAAAABAAMAAAACAAMAAAAEAAMAAAACAP///////wQAAQD///////8FAAAABAAQAAtARV35tV17QKD/yCPd56R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G0QEyiqnYk+mmrsxSL+FVwREYXRhAAUAAAAAAk5hbWUADQAAAExpbmtEYXRhTGlzdAAQVmVyc2lvbgABAAAACUxhc3RXcml0ZQB93hy+kQEAAAABAP////9hAGEAAAAFX2lkABAAAAAEMn3493A4jk6+O0NZo5yS4QREYXRhAAUAAAAAAk5hbWUADQAAAExpbmtEYXRhTGlzdAAQVmVyc2lvbgAAAAAACUxhc3RXcml0ZQB83hy+kQEAAAACAP////9wAHAAAAAFX2lkABAAAAAEQEVd+bVde0Cg/8gj3eekSANEYXRhABYAAAACUGVyc29uYWxJZAABAAAAAAACTmFtZQALAAAAUGVyc29uYWxJZAAQVmVyc2lvbgAAAAAACUxhc3RXcml0ZQCi3hy+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CAP///////////////////////////////////////////////////////////////////////////////////////////////////////////////////////////////////////////////////////////////////////////////////////////////////////////////////////////////////////////////////////////////////////////////////////////////////////////////////////////////////////////////////////////////////////////////////////////////////////////////////////////////////////////////////////////////////////////////wEAIAH///////////////8AAA7///////8FAAAABAD///////////////////////////////////////////////////////////////////////////////////////////////////////////////////////////////////////////////////////////////////////////////////////////////////////////////////////////////////////////////////////////////////////////////////////////////////////////////////////////////////////////////////////////////////////////////////////////////////////////////////////////////////////////////////////////////////////////////////////////////////////////////////////8CAAMBAwAAAAIA////////DgAGTGlua0RhdGFMaXN0XzEEAAAAAAAFAAAAAwAFAAAABAAFAAAAAwAFAAAABAAFAAAAAAD///////8DAAIBAwAAAAMA////////DgAGTGlua0RhdGFMaXN0XzAEAAAAAQAFAAAAAAAFAAAAAg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2487598295"/>
  <p:tag name="EMPOWERCHARTSPROPERTIES_SLOT" val="B"/>
  <p:tag name="RUNTIME_ID" val="54f59e46-ad05-47fe-b2f3-ca17ee14cb7b"/>
</p:tagLst>
</file>

<file path=ppt/tags/tag148.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gD///////8DAAAAAgD///////////////////////////////////////////////////////////////////////////////////////////////////////////////////////////////////////////////////////////////////////////////////////////////////////////////////////////////////////////////////////////////////////////////////////////////////////////////////////////////////////////////////////////////////////////////////////////////////////////////////////////////////////////////////////////////////////////////8BACAA////////////////AAAO////////AwAAAAMA////////////////////////////////////////////////////////////////////////////////////////////////////////////////////////////////////////////////////////////////////////////////////////////////////////////////////////////////////////////////////////////////////////////////////////////////////////////////////////////////////////////////////////////////////////////////////////////////////////////////////////////////////////////////////////////////////////////////////////////////////////////////////////AgADAP///////wUAAAACABAAC81UbgoF5GFEkjqC4BkhG/EEAAAAAAADAAAAAAADAAAABAADAAAAAAD///////8DAAAAAAD///////8DAAEA////////BQAAAAMAEAALljHs6ke3qUyWYT1PMn0a3QQAAAABAAMAAAAEAAMAAAABAAQAAQD///////8FAAAABAAQAAvFh+kMvMmVSZmmcrn9nB1E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VRuCgXkYUSSOoLgGSEb8QREYXRhAAUAAAAAAk5hbWUADQAAAExpbmtEYXRhTGlzdAAQVmVyc2lvbgABAAAACUxhc3RXcml0ZQDp3hy+kQEAAAABAP////9hAGEAAAAFX2lkABAAAAAEljHs6ke3qUyWYT1PMn0a3QREYXRhAAUAAAAAAk5hbWUADQAAAExpbmtEYXRhTGlzdAAQVmVyc2lvbgAAAAAACUxhc3RXcml0ZQDl3hy+kQEAAAACAP////9wAHAAAAAFX2lkABAAAAAExYfpDLzJlUmZpnK5/ZwdRANEYXRhABYAAAACUGVyc29uYWxJZAABAAAAAAACTmFtZQALAAAAUGVyc29uYWxJZAAQVmVyc2lvbgAAAAAACUxhc3RXcml0ZQD+3hy+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UAAAACAP///////////////////////////////////////////////////////////////////////////////////////////////////////////////////////////////////////////////////////////////////////////////////////////////////////////////////////////////////////////////////////////////////////////////////////////////////////////////////////////////////////////////////////////////////////////////////////////////////////////////////////////////////////////////////////////////////////////////wEAIAH///////////////8AAA7///////8FAAAABAD///////////////////////////////////////////////////////////////////////////////////////////////////////////////////////////////////////////////////////////////////////////////////////////////////////////////////////////////////////////////////////////////////////////////////////////////////////////////////////////////////////////////////////////////////////////////////////////////////////////////////////////////////////////////////////////////////////////////////////////////////////////////////////8CAAMBAwAAAAIA////////DgAGTGlua0RhdGFMaXN0XzEEAAAAAAAFAAAAAwAFAAAABAA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82488552486"/>
  <p:tag name="EMPOWERCHARTSPROPERTIES_SLOT" val="B"/>
  <p:tag name="RUNTIME_ID" val="70219d1d-fd4a-470c-a7f7-b94fe9c87bf8"/>
</p:tagLst>
</file>

<file path=ppt/tags/tag15.xml><?xml version="1.0" encoding="utf-8"?>
<p:tagLst xmlns:a="http://schemas.openxmlformats.org/drawingml/2006/main" xmlns:r="http://schemas.openxmlformats.org/officeDocument/2006/relationships" xmlns:p="http://schemas.openxmlformats.org/presentationml/2006/main">
  <p:tag name="MIO_CONTENTTAG" val="EE7QYPQl7EGFBj9XPcXpeg=="/>
  <p:tag name="MIO_DBID" val="B8FCB12D-AF03-49EB-9F79-BB019BE99E1E"/>
  <p:tag name="MIO_EKGUID" val="ebf439f1-4fa2-4899-8390-94c3fbff2131"/>
  <p:tag name="MIO_GUID" val="117c3cb7-01c2-4cc9-9f38-0b8da345e38f"/>
  <p:tag name="MIO_LASTDOWNLOADED" val="04.09.2024 16:40:02.358"/>
  <p:tag name="MIO_LASTEDITORNAME" val="Georgina DEMO"/>
  <p:tag name="MIO_OBJECTNAME" val="Flag - Content Enablement"/>
  <p:tag name="MIO_UPDATE" val="True"/>
  <p:tag name="MIO_VERSION" val="20.06.2024 12:03:46"/>
</p:tagLst>
</file>

<file path=ppt/tags/tag16.xml><?xml version="1.0" encoding="utf-8"?>
<p:tagLst xmlns:a="http://schemas.openxmlformats.org/drawingml/2006/main" xmlns:r="http://schemas.openxmlformats.org/officeDocument/2006/relationships" xmlns:p="http://schemas.openxmlformats.org/presentationml/2006/main">
  <p:tag name="MIO_CONTENTTAG" val="5lYMFok9D0Cm8oqbM0nhBw=="/>
  <p:tag name="MIO_DBID" val="B8FCB12D-AF03-49EB-9F79-BB019BE99E1E"/>
  <p:tag name="MIO_EKGUID" val="8000a04f-2622-48a8-bb94-c57351f89e5b"/>
  <p:tag name="MIO_GUID" val="21a4adfd-4e40-4fb6-9d55-21181a41af9a"/>
  <p:tag name="MIO_LASTDOWNLOADED" val="04.09.2024 16:40:02.416"/>
  <p:tag name="MIO_LASTEDITORNAME" val="Georgina DEMO"/>
  <p:tag name="MIO_OBJECTNAME" val="Flag - Content Creation"/>
  <p:tag name="MIO_UPDATE" val="True"/>
  <p:tag name="MIO_VERSION" val="20.06.2024 16:13:07"/>
</p:tagLst>
</file>

<file path=ppt/tags/tag17.xml><?xml version="1.0" encoding="utf-8"?>
<p:tagLst xmlns:a="http://schemas.openxmlformats.org/drawingml/2006/main" xmlns:r="http://schemas.openxmlformats.org/officeDocument/2006/relationships" xmlns:p="http://schemas.openxmlformats.org/presentationml/2006/main">
  <p:tag name="MIO_CONTENTTAG" val="z2ZIxy8rHkuaZRM3pRPX2w=="/>
  <p:tag name="MIO_DBID" val="B8FCB12D-AF03-49EB-9F79-BB019BE99E1E"/>
  <p:tag name="MIO_EKGUID" val="5d765e53-17ed-45b0-845c-26e9990b39fd"/>
  <p:tag name="MIO_GUID" val="794613a3-e1af-47c8-99b1-502d8be5d3bf"/>
  <p:tag name="MIO_LASTDOWNLOADED" val="04.09.2024 16:40:02.488"/>
  <p:tag name="MIO_LASTEDITORNAME" val="Georgina DEMO"/>
  <p:tag name="MIO_OBJECTNAME" val="Flag - Brand Control"/>
  <p:tag name="MIO_UPDATE" val="True"/>
  <p:tag name="MIO_VERSION" val="21.06.2024 10:06:16"/>
</p:tagLst>
</file>

<file path=ppt/tags/tag18.xml><?xml version="1.0" encoding="utf-8"?>
<p:tagLst xmlns:a="http://schemas.openxmlformats.org/drawingml/2006/main" xmlns:r="http://schemas.openxmlformats.org/officeDocument/2006/relationships" xmlns:p="http://schemas.openxmlformats.org/presentationml/2006/main">
  <p:tag name="MIO_CONTENTTAG" val="KuHOkRTFNEeVSsEN7GiG/g=="/>
  <p:tag name="MIO_GUID" val="2b5c2dfd-6f22-4313-be80-db1840967699"/>
</p:tagLst>
</file>

<file path=ppt/tags/tag19.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BAD///////////////////////////////////////////////////////////////////////////////////////////////////////////////////////////////////////////////////////////////////////////////////////////////////////////////////////////////////////////////////////////////////////////////////////////////////////////////////////////////////////////////////////////////////////////////////////////////////////////////////////////////////////////////////////////////////////////////////////////////8BACAA////////////////AAAO////////AwAAAAMA////////////////////////////////////////////////////////////////////////////////////////////////////////////////////////////////////////////////////////////////////////////////////////////////////////////////////////////////////////////////////////////////////////////////////////////////////////////////////////////////////////////////////////////////////////////////////////////////////////////////////////////////////////////////////////////////////////////////////////////////////////////////////////AgABAP///////wUAAAACABAACwNn0Epqv9tDhCTt9kLx0IkEAAAAAAADAAAABAADAAAAAwADAAIA////////BQAAAAMAEAAL+IHQwQShS0GVHzF7OM1qfQQAAAABAAMAAAACAAMAAAABAAMAAAAEAP///////wQAAgD///////8FAAAABAAQAAtRtPkO8uv1Rb1z6fuoS31R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2fQSmq/20OEJO32QvHQiQREYXRhAAUAAAAAAk5hbWUADQAAAExpbmtEYXRhTGlzdAAQVmVyc2lvbgAAAAAACUxhc3RXcml0ZQCcQGg1kAEAAAABAP////9hAGEAAAAFX2lkABAAAAAE+IHQwQShS0GVHzF7OM1qfQREYXRhAAUAAAAAAk5hbWUADQAAAExpbmtEYXRhTGlzdAAQVmVyc2lvbgABAAAACUxhc3RXcml0ZQCdQGg1kAEAAAACAP////9wAHAAAAAFX2lkABAAAAAEUbT5DvLr9UW9c+n7qEt9UQNEYXRhABYAAAACUGVyc29uYWxJZAABAAAAAAACTmFtZQALAAAAUGVyc29uYWxJZAAQVmVyc2lvbgAAAAAACUxhc3RXcml0ZQC5QGg1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544797431878672"/>
  <p:tag name="EMPOWERCHARTSPROPERTIES_SLOT" val="B"/>
  <p:tag name="RUNTIME_ID" val="0760471a-21b6-403e-abba-bdfd0621fad0"/>
</p:tagLst>
</file>

<file path=ppt/tags/tag2.xml><?xml version="1.0" encoding="utf-8"?>
<p:tagLst xmlns:a="http://schemas.openxmlformats.org/drawingml/2006/main" xmlns:r="http://schemas.openxmlformats.org/officeDocument/2006/relationships" xmlns:p="http://schemas.openxmlformats.org/presentationml/2006/main">
  <p:tag name="MIO_AVOID_BLANK_LAYOUT" val="False"/>
  <p:tag name="MIO_CD_LAYOUT_VALID_AREA" val="False"/>
  <p:tag name="MIO_CDID" val="7e112968-5c67-4980-b6c7-7641b4432155"/>
  <p:tag name="MIO_CONTENTTAG" val="Ul7saRY/Hk+gDi560B268g=="/>
  <p:tag name="MIO_DBID" val="B8FCB12D-AF03-49EB-9F79-BB019BE99E1E"/>
  <p:tag name="MIO_EKGUID" val="5e582455-eb90-4e8e-ac43-43a20fda9484"/>
  <p:tag name="MIO_EMBED_FONT" val="False"/>
  <p:tag name="MIO_FALLBACK_LAYOUT" val="14"/>
  <p:tag name="MIO_HDS" val="True"/>
  <p:tag name="MIO_LASTDOWNLOADED" val="22.05.2024 12:38:35.043"/>
  <p:tag name="MIO_MATCH_COLOR_SCHEME" val="False"/>
  <p:tag name="MIO_NUMBER_OF_VALID_LAYOUTS" val="100"/>
  <p:tag name="MIO_OBJECTNAME" val="empower Blue 2023"/>
  <p:tag name="MIO_SHOW_DATE" val="False"/>
  <p:tag name="MIO_SHOW_FOOTER" val="False"/>
  <p:tag name="MIO_SHOW_PAGENUMBER" val="False"/>
  <p:tag name="MIO_SKIPVERSION" val="01.01.0001 00:00:00"/>
  <p:tag name="MIO_UPDATE" val="True"/>
  <p:tag name="MIO_VERSION" val="22.05.2024 11:35:55"/>
</p:tagLst>
</file>

<file path=ppt/tags/tag20.xml><?xml version="1.0" encoding="utf-8"?>
<p:tagLst xmlns:a="http://schemas.openxmlformats.org/drawingml/2006/main" xmlns:r="http://schemas.openxmlformats.org/officeDocument/2006/relationships" xmlns:p="http://schemas.openxmlformats.org/presentationml/2006/main">
  <p:tag name="MIO_CONTENTTAG" val="w3v1TXxJWEKD+ofBinJgdQ=="/>
  <p:tag name="MIO_GUID" val="7e86a7aa-425b-452c-96cf-12a1c3c3d95d"/>
</p:tagLst>
</file>

<file path=ppt/tags/tag21.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BAD///////////////////////////////////////////////////////////////////////////////////////////////////////////////////////////////////////////////////////////////////////////////////////////////////////////////////////////////////////////////////////////////////////////////////////////////////////////////////////////////////////////////////////////////////////////////////////////////////////////////////////////////////////////////////////////////////////////////////////////////8BACAA////////////////AAAO////////AwAAAAMA////////////////////////////////////////////////////////////////////////////////////////////////////////////////////////////////////////////////////////////////////////////////////////////////////////////////////////////////////////////////////////////////////////////////////////////////////////////////////////////////////////////////////////////////////////////////////////////////////////////////////////////////////////////////////////////////////////////////////////////////////////////////////////AgABAP///////wUAAAACABAACwNn0Epqv9tDhCTt9kLx0IkEAAAAAAADAAAABAADAAAAAwADAAIA////////BQAAAAMAEAAL+IHQwQShS0GVHzF7OM1qfQQAAAABAAMAAAACAAMAAAABAAMAAAAEAP///////wQAAgD///////8FAAAABAAQAAtRtPkO8uv1Rb1z6fuoS31R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2fQSmq/20OEJO32QvHQiQREYXRhAAUAAAAAAk5hbWUADQAAAExpbmtEYXRhTGlzdAAQVmVyc2lvbgAAAAAACUxhc3RXcml0ZQCcQGg1kAEAAAABAP////9hAGEAAAAFX2lkABAAAAAE+IHQwQShS0GVHzF7OM1qfQREYXRhAAUAAAAAAk5hbWUADQAAAExpbmtEYXRhTGlzdAAQVmVyc2lvbgABAAAACUxhc3RXcml0ZQCdQGg1kAEAAAACAP////9wAHAAAAAFX2lkABAAAAAEUbT5DvLr9UW9c+n7qEt9UQNEYXRhABYAAAACUGVyc29uYWxJZAABAAAAAAACTmFtZQALAAAAUGVyc29uYWxJZAAQVmVyc2lvbgAAAAAACUxhc3RXcml0ZQC5QGg1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544797431878672"/>
  <p:tag name="EMPOWERCHARTSPROPERTIES_SLOT" val="B"/>
  <p:tag name="RUNTIME_ID" val="3a932d70-e11c-4a01-beec-92590a98918f"/>
</p:tagLst>
</file>

<file path=ppt/tags/tag22.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BAD///////////////////////////////////////////////////////////////////////////////////////////////////////////////////////////////////////////////////////////////////////////////////////////////////////////////////////////////////////////////////////////////////////////////////////////////////////////////////////////////////////////////////////////////////////////////////////////////////////////////////////////////////////////////////////////////////////////////////////////////8BACAA////////////////AAAO////////AwAAAAMA////////////////////////////////////////////////////////////////////////////////////////////////////////////////////////////////////////////////////////////////////////////////////////////////////////////////////////////////////////////////////////////////////////////////////////////////////////////////////////////////////////////////////////////////////////////////////////////////////////////////////////////////////////////////////////////////////////////////////////////////////////////////////////AgABAP///////wUAAAACABAACwNn0Epqv9tDhCTt9kLx0IkEAAAAAAADAAAABAADAAAAAwADAAIA////////BQAAAAMAEAAL+IHQwQShS0GVHzF7OM1qfQQAAAABAAMAAAACAAMAAAABAAMAAAAEAP///////wQAAgD///////8FAAAABAAQAAtRtPkO8uv1Rb1z6fuoS31R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2fQSmq/20OEJO32QvHQiQREYXRhAAUAAAAAAk5hbWUADQAAAExpbmtEYXRhTGlzdAAQVmVyc2lvbgAAAAAACUxhc3RXcml0ZQCcQGg1kAEAAAABAP////9hAGEAAAAFX2lkABAAAAAE+IHQwQShS0GVHzF7OM1qfQREYXRhAAUAAAAAAk5hbWUADQAAAExpbmtEYXRhTGlzdAAQVmVyc2lvbgABAAAACUxhc3RXcml0ZQCdQGg1kAEAAAACAP////9wAHAAAAAFX2lkABAAAAAEUbT5DvLr9UW9c+n7qEt9UQNEYXRhABYAAAACUGVyc29uYWxJZAABAAAAAAACTmFtZQALAAAAUGVyc29uYWxJZAAQVmVyc2lvbgAAAAAACUxhc3RXcml0ZQC5QGg1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544797431878672"/>
  <p:tag name="EMPOWERCHARTSPROPERTIES_SLOT" val="B"/>
  <p:tag name="RUNTIME_ID" val="80742f46-50dd-4a23-89f5-d098cc378c33"/>
</p:tagLst>
</file>

<file path=ppt/tags/tag23.xml><?xml version="1.0" encoding="utf-8"?>
<p:tagLst xmlns:a="http://schemas.openxmlformats.org/drawingml/2006/main" xmlns:r="http://schemas.openxmlformats.org/officeDocument/2006/relationships" xmlns:p="http://schemas.openxmlformats.org/presentationml/2006/main">
  <p:tag name="MIO_CONTENTTAG" val="iiu/9cMopUKPeX4e2JNF3E/cD1lWVT9ChebEcl1LPsA="/>
  <p:tag name="MIO_DBID" val="b8fcb12d-af03-49eb-9f79-bb019be99e1e"/>
  <p:tag name="MIO_EKGUID" val="f03cd20d-6c48-43ad-85f1-6ac8ee5a9bfa"/>
  <p:tag name="MIO_GUID" val="aeff74f2-8348-4ab5-a4d4-6347c00b6b40"/>
  <p:tag name="MIO_LASTDOWNLOADED" val="06.09.2024 08:43:14"/>
  <p:tag name="MIO_LASTEDITORNAME" val="Georgina DEMO"/>
  <p:tag name="MIO_OBJECTNAME" val="Training guides"/>
  <p:tag name="MIO_UPDATE" val="True"/>
  <p:tag name="MIO_VERSION" val="05.09.2024 19:30:05"/>
</p:tagLst>
</file>

<file path=ppt/tags/tag24.xml><?xml version="1.0" encoding="utf-8"?>
<p:tagLst xmlns:a="http://schemas.openxmlformats.org/drawingml/2006/main" xmlns:r="http://schemas.openxmlformats.org/officeDocument/2006/relationships" xmlns:p="http://schemas.openxmlformats.org/presentationml/2006/main">
  <p:tag name="MIO_CONTENTTAG" val="LlcKGt8SM0K2BpfWLPrvcA=="/>
  <p:tag name="MIO_DBID" val="b8fcb12d-af03-49eb-9f79-bb019be99e1e"/>
  <p:tag name="MIO_EKGUID" val="2c85620e-cdba-4311-a568-a5a7634893e4"/>
  <p:tag name="MIO_GUID" val="791ac819-9a83-4f7c-b966-e2c10fad7d65"/>
  <p:tag name="MIO_LASTDOWNLOADED" val="06.09.2024 08:43:15"/>
  <p:tag name="MIO_LASTEDITORNAME" val="Georgina DEMO"/>
  <p:tag name="MIO_OBJECTNAME" val="How does it work?"/>
  <p:tag name="MIO_UPDATE" val="True"/>
  <p:tag name="MIO_VERSION" val="05.09.2024 19:30:06"/>
</p:tagLst>
</file>

<file path=ppt/tags/tag25.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gBAQEBAQEBAQEBAQEBAQMAAAAAAAAAAwAAAAMAAAAA/////wUAegsAAAAAAAAAAAAAIAD///////////////8AAAD///////////////8DAAAAAgD///////8DAAAAAgD///////8DAAAAAgD///////8DAAAAAgD///////8DAAAAAgD///////8DAAAAAgD///////8DAAAAAwD///////8DAAAAAwD///////////////////////////////////////////////////////////////////////////////////////////////////////////////////////////////////////////////////////////////////////////////////////////////////////////////////////////////////////////////////////////////////////////////////////////////////////////////////////////////////////////////////////////////////////////////////////////////8BACAA////////////////AAAO////////AwAAAAQA////////////////////////////////////////////////////////////////////////////////////////////////////////////////////////////////////////////////////////////////////////////////////////////////////////////////////////////////////////////////////////////////////////////////////////////////////////////////////////////////////////////////////////////////////////////////////////////////////////////////////////////////////////////////////////////////////////////////////////////////////////////////////////AgAGAP///////wUAAAACABAAC6uSHhQn+8hBtD60YpdOCAEEAAAAAAADAAAAAAADAAAAAwADAAAAAAADAAAAAwADAAAAAAADAAAAAwADAAAAAAADAAAAAwADAAAAAAADAAAAAwADAAAAAAADAAAAAwADAAgA////////BQAAAAMAEAALUOlVM/twQEmkN0o8FnOnMgQAAAABAAMAAAACAAMAAAAEAAMAAAACAAMAAAAEAAMAAAACAP///////wMAAAACAP///////wMAAAACAP///////wMAAAACAP///////wMAAAAAAP///////wMAAAAAAP///////wQAAgD///////8FAAAABAAQAAuXqMNx+8JSRYsy0Olyr6ir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5IeFCf7yEG0PrRil04IAQREYXRhAAUAAAAAAk5hbWUADQAAAExpbmtEYXRhTGlzdAAQVmVyc2lvbgAAAAAACUxhc3RXcml0ZQBOj7W9kQEAAAABAP////9hAGEAAAAFX2lkABAAAAAEUOlVM/twQEmkN0o8FnOnMgREYXRhAAUAAAAAAk5hbWUADQAAAExpbmtEYXRhTGlzdAAQVmVyc2lvbgABAAAACUxhc3RXcml0ZQBOj7W9kQEAAAACAP////9wAHAAAAAFX2lkABAAAAAEl6jDcfvCUkWLMtDpcq+oqwNEYXRhABYAAAACUGVyc29uYWxJZAABAAAAAAACTmFtZQALAAAAUGVyc29uYWxJZAAQVmVyc2lvbgAAAAAACUxhc3RXcml0ZQBjj7W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CwAAAAAAAAAAAAAgAf///////////////wAAAP///////////////wUAAAACAP///////wUAAAACAP///////wUAAAACAP///////wUAAAACAP///////wUAAAACAP///////wUAAAACAP///////wUAAAADAP///////wUAAAADAP///////////////////////////////////////////////////////////////////////////////////////////////////////////////////////////////////////////////////////////////////////////////////////////////////////////////////////////////////////////////////////////////////////////////////////////////////////////////////////////////////////////////////////////////////////////////////////////////wEAIAH///////////////8AAA7///////8FAAAABAD///////////////////////////////////////////////////////////////////////////////////////////////////////////////////////////////////////////////////////////////////////////////////////////////////////////////////////////////////////////////////////////////////////////////////////////////////////////////////////////////////////////////////////////////////////////////////////////////////////////////////////////////////////////////////////////////////////////////////////////////////////////////////////8CAAYBAwAAAAIA////////DgAGTGlua0RhdGFMaXN0XzAEAAAAAAAFAAAAAAAFAAAAAwAFAAAAAAAFAAAAAwAFAAAAAAAFAAAAAwAFAAAAAAAFAAAAAwAFAAAAAAAFAAAAAwAFAAAAAAAFAAAAAwADAAgBAwAAAAMA////////DgAGTGlua0RhdGFMaXN0XzEEAAAAAQAFAAAAAgAFAAAABAAFAAAAAgAFAAAABAAFAAAAAgD///////8FAAAAAgD///////8FAAAAAgD///////8FAAAAAgD///////8FAAAAAAD///////8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14782654787"/>
  <p:tag name="EMPOWERCHARTSPROPERTIES_SLOT" val="B"/>
  <p:tag name="RUNTIME_ID" val="860d38b9-dcdf-4a48-927c-984dbced7caa"/>
</p:tagLst>
</file>

<file path=ppt/tags/tag26.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MA////////////////////////////////////////////////////////////////////////////////////////////////////////////////////////////////////////////////////////////////////////////////////////////////////////////////////////////////////////////////////////////////////////////////////////////////////////////////////////////////////////////////////////////////////////////////////////////////////////////////////////////////////////////////////////////////////////////////////////////////////////////////////////AgABAP///////wUAAAACABAAC9MfFzqB5SNEvKTf2cpegdgEAAAAAAADAAAAAAADAAAABAADAAEA////////BQAAAAMAEAALXErD5BjJjkKT6ehjvvLJcQQAAAABAAMAAAAEAAMAAAABAAQAAQD///////8FAAAABAAQAAsCMj7b+k7TTZSVa6/6QXKP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x8XOoHlI0S8pN/Zyl6B2AREYXRhAAUAAAAAAk5hbWUADQAAAExpbmtEYXRhTGlzdAAQVmVyc2lvbgAAAAAACUxhc3RXcml0ZQBksbW9kQEAAAABAP////9hAGEAAAAFX2lkABAAAAAEXErD5BjJjkKT6ehjvvLJcQREYXRhAAUAAAAAAk5hbWUADQAAAExpbmtEYXRhTGlzdAAQVmVyc2lvbgABAAAACUxhc3RXcml0ZQBksbW9kQEAAAACAP////9wAHAAAAAFX2lkABAAAAAEAjI+2/pO002UlWuv+kFyjwNEYXRhABYAAAACUGVyc29uYWxJZAABAAAAAAACTmFtZQALAAAAUGVyc29uYWxJZAAQVmVyc2lvbgAAAAAACUxhc3RXcml0ZQB7sbW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14869921230"/>
  <p:tag name="EMPOWERCHARTSPROPERTIES_SLOT" val="B"/>
  <p:tag name="RUNTIME_ID" val="316d59ab-ae06-46d9-a1bd-bd7d6c12087c"/>
</p:tagLst>
</file>

<file path=ppt/tags/tag27.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BAD///////8DAAAAAwD///////////////////////////////////////////////////////////////////////////////////////////////////////////////////////////////////////////////////////////////////////////////////////////////////////////////////////////////////////////////////////////////////////////////////////////////////////////////////////////////////////////////////////////////////////////////////////////////////////////////////////////////////////////////////////////////////////////////8BACAA////////////////AAAO////////AwAAAAMA////////////////////////////////////////////////////////////////////////////////////////////////////////////////////////////////////////////////////////////////////////////////////////////////////////////////////////////////////////////////////////////////////////////////////////////////////////////////////////////////////////////////////////////////////////////////////////////////////////////////////////////////////////////////////////////////////////////////////////////////////////////////////////AgABAP///////wUAAAACABAAC3TaBZHnJZhErz2yqYN35/MEAAAAAAADAAAAAAADAAAABAADAAMA////////BQAAAAMAEAAL+Hb/7ZKuB0WhqCOr7UaOGwQAAAABAAMAAAAEAAMAAAABAAMAAAAEAP///////wMAAAAAAP///////wQAAgD///////8FAAAABAAQAAvyZRjC2tpJS4oVS/GzN2Vh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NoFkeclmESvPbKpg3fn8wREYXRhAAUAAAAAAk5hbWUADQAAAExpbmtEYXRhTGlzdAAQVmVyc2lvbgAAAAAACUxhc3RXcml0ZQBWhdK9kQEAAAABAP////9hAGEAAAAFX2lkABAAAAAE+Hb/7ZKuB0WhqCOr7UaOGwREYXRhAAUAAAAAAk5hbWUADQAAAExpbmtEYXRhTGlzdAAQVmVyc2lvbgABAAAACUxhc3RXcml0ZQBXhdK9kQEAAAACAP////9wAHAAAAAFX2lkABAAAAAE8mUYwtraSUuKFUvxszdlYQNEYXRhABYAAAACUGVyc29uYWxJZAABAAAAAAACTmFtZQALAAAAUGVyc29uYWxJZAAQVmVyc2lvbgAAAAAACUxhc3RXcml0ZQBxhdK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3762846358"/>
  <p:tag name="EMPOWERCHARTSPROPERTIES_SLOT" val="B"/>
  <p:tag name="RUNTIME_ID" val="4c819a38-9df9-4bc1-8201-f920f9541ede"/>
</p:tagLst>
</file>

<file path=ppt/tags/tag28.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gsAAAAAAAAAAAAAIAD///////////////8AAAD///////////////8DAAAAAgD///////8DAAAAAgD///////////////////////////////////////////////////////////////////////////////////////////////////////////////////////////////////////////////////////////////////////////////////////////////////////////////////////////////////////////////////////////////////////////////////////////////////////////////////////////////////////////////////////////////////////////////////////////////////////////////////////////////////////////////////////////////////////////////////////////////8BACAA////////////////AAAO////////AwAAAAQA////////////////////////////////////////////////////////////////////////////////////////////////////////////////////////////////////////////////////////////////////////////////////////////////////////////////////////////////////////////////////////////////////////////////////////////////////////////////////////////////////////////////////////////////////////////////////////////////////////////////////////////////////////////////////////////////////////////////////////////////////////////////////////AgACAP///////wUAAAACABAAC/X9cFQ6B5BEngnBAEBfhVkEAAAAAAADAAAAAAADAAAAAwADAAAAAAADAAAABAADAAEA////////BQAAAAMAEAAL0m19Zv7lHkarstP0yPSE7wQAAAABAAMAAAACAAMAAAAEAAQAAgD///////8FAAAABAAQAAsaGg38AE6DTLI7nUpbrO8vBAAAAAIAAwAAAAMAAwAAAAE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f1wVDoHkESeCcEAQF+FWQREYXRhAAUAAAAAAk5hbWUADQAAAExpbmtEYXRhTGlzdAAQVmVyc2lvbgAAAAAACUxhc3RXcml0ZQCwhdK9kQEAAAABAP////9hAGEAAAAFX2lkABAAAAAE0m19Zv7lHkarstP0yPSE7wREYXRhAAUAAAAAAk5hbWUADQAAAExpbmtEYXRhTGlzdAAQVmVyc2lvbgABAAAACUxhc3RXcml0ZQCxhdK9kQEAAAACAP////9wAHAAAAAFX2lkABAAAAAEGhoN/ABOg0yyO51KW6zvLwNEYXRhABYAAAACUGVyc29uYWxJZAABAAAAAAACTmFtZQALAAAAUGVyc29uYWxJZAAQVmVyc2lvbgAAAAAACUxhc3RXcml0ZQDXhdK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EAP///////////////////////////////////////////////////////////////////////////////////////////////////////////////////////////////////////////////////////////////////////////////////////////////////////////////////////////////////////////////////////////////////////////////////////////////////////////////////////////////////////////////////////////////////////////////////////////////////////////////////////////////////////////////////////////////////////////////wEAIAH///////////////8AAA7///////8FAAAABAD///////////////////////////////////////////////////////////////////////////////////////////////////////////////////////////////////////////////////////////////////////////////////////////////////////////////////////////////////////////////////////////////////////////////////////////////////////////////////////////////////////////////////////////////////////////////////////////////////////////////////////////////////////////////////////////////////////////////////////////////////////////////////////8CAAIBAwAAAAIA////////DgAGTGlua0RhdGFMaXN0XzAEAAAAAAAFAAAAAAAFAAAAAwAFAAAAAAAFAAAABAADAAEBAwAAAAMA////////DgAGTGlua0RhdGFMaXN0XzEEAAAAAQAFAAAAAgAFAAAABAAEAAMBAwAAAAQA////////DAAGUGVyc29uYWxJZF8wBAAAAAIABQAAAAM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3763674939"/>
  <p:tag name="EMPOWERCHARTSPROPERTIES_SLOT" val="B"/>
  <p:tag name="RUNTIME_ID" val="15521e83-4b47-48e9-9bcf-bddc2f1b1a09"/>
</p:tagLst>
</file>

<file path=ppt/tags/tag29.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9+aKzBKcXNCgkKu3GRvZQQEAAAAAAADAAAAAAADAAAABAADAAAAAAADAAAABAADAAMA////////BQAAAAMAEAALyTjXwTbujU6YZZXdrdTISwQAAAABAAMAAAAEAAMAAAABAAMAAAAEAP///////wMAAAAAAP///////wQAAgD///////8FAAAABAAQAAujxrAwuG0cTYsLNG8Byh9r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5orMEpxc0KCQq7cZG9lBAREYXRhAAUAAAAAAk5hbWUADQAAAExpbmtEYXRhTGlzdAAQVmVyc2lvbgABAAAACUxhc3RXcml0ZQAJiQ++kQEAAAABAP////9hAGEAAAAFX2lkABAAAAAEyTjXwTbujU6YZZXdrdTISwREYXRhAAUAAAAAAk5hbWUADQAAAExpbmtEYXRhTGlzdAAQVmVyc2lvbgAAAAAACUxhc3RXcml0ZQAHiQ++kQEAAAACAP////9wAHAAAAAFX2lkABAAAAAEo8awMLhtHE2LCzRvAcofawNEYXRhABYAAAACUGVyc29uYWxJZAABAAAAAAACTmFtZQALAAAAUGVyc29uYWxJZAAQVmVyc2lvbgAAAAAACUxhc3RXcml0ZQA/iQ++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IBAwAAAAIA////////DgAGTGlua0RhdGFMaXN0XzEEAAAAAAAFAAAAAwAFAAAABAAFAAAAAwAFAAAABAADAAMBAwAAAAMA////////DgAGTGlua0RhdGFMaXN0XzAEAAAAAQAFAAAAAAAFAAAAAgAFAAAAAAAFAAAAAgAFAAAAAAD///////8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73749301451"/>
  <p:tag name="EMPOWERCHARTSPROPERTIES_SLOT" val="B"/>
  <p:tag name="RUNTIME_ID" val="11f62c09-552e-42b4-9241-82d32f50c073"/>
</p:tagLst>
</file>

<file path=ppt/tags/tag3.xml><?xml version="1.0" encoding="utf-8"?>
<p:tagLst xmlns:a="http://schemas.openxmlformats.org/drawingml/2006/main" xmlns:r="http://schemas.openxmlformats.org/officeDocument/2006/relationships" xmlns:p="http://schemas.openxmlformats.org/presentationml/2006/main">
  <p:tag name="MIO_AVOID_BLANK_LAYOUT" val="False"/>
  <p:tag name="MIO_CD_LAYOUT_VALID_AREA" val="False"/>
  <p:tag name="MIO_CDID" val="7e112968-5c67-4980-b6c7-7641b4432155"/>
  <p:tag name="MIO_CONTENTTAG" val="JEPso+jn30SNns7btfRmZg=="/>
  <p:tag name="MIO_DBID" val="B8FCB12D-AF03-49EB-9F79-BB019BE99E1E"/>
  <p:tag name="MIO_EKGUID" val="5e582455-eb90-4e8e-ac43-43a20fda9484"/>
  <p:tag name="MIO_EMBED_FONT" val="False"/>
  <p:tag name="MIO_FALLBACK_LAYOUT" val="14"/>
  <p:tag name="MIO_HDS" val="True"/>
  <p:tag name="MIO_LASTDOWNLOADED" val="04.09.2024 16:38:23.106"/>
  <p:tag name="MIO_MATCH_COLOR_SCHEME" val="False"/>
  <p:tag name="MIO_NUMBER_OF_VALID_LAYOUTS" val="57"/>
  <p:tag name="MIO_OBJECTNAME" val="empower"/>
  <p:tag name="MIO_SHOW_DATE" val="False"/>
  <p:tag name="MIO_SHOW_FOOTER" val="False"/>
  <p:tag name="MIO_SHOW_PAGENUMBER" val="False"/>
  <p:tag name="MIO_SKIPVERSION" val="01.01.0001 00:00:00"/>
  <p:tag name="MIO_UPDATE" val="True"/>
  <p:tag name="MIO_VERSION" val="01.08.2024 13:09:39"/>
</p:tagLst>
</file>

<file path=ppt/tags/tag30.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CgwAAAAAAAAAAAAAIAD///////////////8AAAD///////////////8DAAAAAgD///////8DAAAAAgD///////////////////////////////////////////////////////////////////////////////////////////////////////////////////////////////////////////////////////////////////////////////////////////////////////////////////////////////////////////////////////////////////////////////////////////////////////////////////////////////////////////////////////////////////////////////////////////////////////////////////////////////////////////////////////////////////////////////////////////////8BACAA////////////////AAAO////////AwAAAAMA////////////////////////////////////////////////////////////////////////////////////////////////////////////////////////////////////////////////////////////////////////////////////////////////////////////////////////////////////////////////////////////////////////////////////////////////////////////////////////////////////////////////////////////////////////////////////////////////////////////////////////////////////////////////////////////////////////////////////////////////////////////////////////AgACAP///////wUAAAACABAAC4QOuDNPSDtEurNc/sDav3MEAAAAAAADAAAAAAADAAAABAADAAAAAAD///////8DAAEA////////BQAAAAMAEAALzba18zFsukanwioBwDkurQQAAAABAAMAAAAEAAMAAAABAAQAAQD///////8FAAAABAAQAAsnGaZgGcpnQKeQkEyw1qr5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A64M09IO0S6s1z+wNq/cwREYXRhAAUAAAAAAk5hbWUADQAAAExpbmtEYXRhTGlzdAAQVmVyc2lvbgAAAAAACUxhc3RXcml0ZQCcStG9kQEAAAABAP////9hAGEAAAAFX2lkABAAAAAEzba18zFsukanwioBwDkurQREYXRhAAUAAAAAAk5hbWUADQAAAExpbmtEYXRhTGlzdAAQVmVyc2lvbgABAAAACUxhc3RXcml0ZQCrStG9kQEAAAACAP////9wAHAAAAAFX2lkABAAAAAEJxmmYBnKZ0CnkJBMsNaq+QNEYXRhABYAAAACUGVyc29uYWxJZAABAAAAAAACTmFtZQALAAAAUGVyc29uYWxJZAAQVmVyc2lvbgAAAAAACUxhc3RXcml0ZQDgStG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EAP///////wUAAAAEAP///////////////////////////////////////////////////////////////////////////////////////////////////////////////////////////////////////////////////////////////////////////////////////////////////////////////////////////////////////////////////////////////////////////////////////////////////////////////////////////////////////////////////////////////////////////////////////////////////////////////////////////////////////////////////////////////wEAIAH///////////////8AAA7///////8FAAAABAD///////////////////////////////////////////////////////////////////////////////////////////////////////////////////////////////////////////////////////////////////////////////////////////////////////////////////////////////////////////////////////////////////////////////////////////////////////////////////////////////////////////////////////////////////////////////////////////////////////////////////////////////////////////////////////////////////////////////////////////////////////////////////////8CAAIBAwAAAAIA////////DgAGTGlua0RhdGFMaXN0XzAEAAAAAAAFAAAAAAAFAAAAAwAFAAAAAAAFAAAABAADAAEBAwAAAAMA////////DgAGTGlua0RhdGFMaXN0XzEEAAAAAQAFAAAAAgAFAAAABAAEAAQBAwAAAAQA////////DAAGUGVyc29uYWxJZF8wBAAAAAIABQAAAAMABQAAAAEABQAAAAI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2957375072"/>
  <p:tag name="EMPOWERCHARTSPROPERTIES_SLOT" val="B"/>
  <p:tag name="RUNTIME_ID" val="814e9a3a-5898-42ed-87f1-bb0b34a12eb1"/>
</p:tagLst>
</file>

<file path=ppt/tags/tag31.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QA////////////////////////////////////////////////////////////////////////////////////////////////////////////////////////////////////////////////////////////////////////////////////////////////////////////////////////////////////////////////////////////////////////////////////////////////////////////////////////////////////////////////////////////////////////////////////////////////////////////////////////////////////////////////////////////////////////////////////////////////////////////////////////AgABAP///////wUAAAACABAAC0QfXmpgqUpNtXQBpsxE6wwEAAAAAAADAAAAAAADAAAAAwADAAEA////////BQAAAAMAEAALrLuztmZDVEWLNbZ2NCe6IgQAAAABAAMAAAACAAMAAAAEAAQAAQD///////8FAAAABAAQAAunM4P26vKmRq5CM9XHsUrv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B9eamCpSk21dAGmzETrDAREYXRhAAUAAAAAAk5hbWUADQAAAExpbmtEYXRhTGlzdAAQVmVyc2lvbgAAAAAACUxhc3RXcml0ZQASS9G9kQEAAAABAP////9hAGEAAAAFX2lkABAAAAAErLuztmZDVEWLNbZ2NCe6IgREYXRhAAUAAAAAAk5hbWUADQAAAExpbmtEYXRhTGlzdAAQVmVyc2lvbgABAAAACUxhc3RXcml0ZQAUS9G9kQEAAAACAP////9wAHAAAAAFX2lkABAAAAAEpzOD9urypkauQjPVx7FK7wNEYXRhABYAAAACUGVyc29uYWxJZAABAAAAAAACTmFtZQALAAAAUGVyc29uYWxJZAAQVmVyc2lvbgAAAAAACUxhc3RXcml0ZQAzS9G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2958249597"/>
  <p:tag name="EMPOWERCHARTSPROPERTIES_SLOT" val="B"/>
  <p:tag name="RUNTIME_ID" val="cac8df03-e7b2-401f-a2d1-86a80163e272"/>
</p:tagLst>
</file>

<file path=ppt/tags/tag32.xml><?xml version="1.0" encoding="utf-8"?>
<p:tagLst xmlns:a="http://schemas.openxmlformats.org/drawingml/2006/main" xmlns:r="http://schemas.openxmlformats.org/officeDocument/2006/relationships" xmlns:p="http://schemas.openxmlformats.org/presentationml/2006/main">
  <p:tag name="MIO_DBID" val="B8FCB12D-AF03-49EB-9F79-BB019BE99E1E"/>
  <p:tag name="MIO_EKGUID" val="0f229cc4-b721-4cf1-a02c-b609c9a5432f"/>
  <p:tag name="MIO_GUID" val="c328dd39-7ff1-42fd-86dc-5044845865ed"/>
  <p:tag name="MIO_LASTDOWNLOADED" val="24.09.2020 19:31:37"/>
  <p:tag name="MIO_LASTEDITORNAME" val="empower enterprise"/>
  <p:tag name="MIO_OBJECTNAME" val="Bar chart (5) (2)"/>
  <p:tag name="MIO_UPDATE" val="True"/>
  <p:tag name="MIO_VERSION" val="26.09.2019 11:55:55"/>
</p:tagLst>
</file>

<file path=ppt/tags/tag33.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CgwAAAAAAAAAAAAAIAD///////////////8AAAD///////////////8DAAAAAgD///////8DAAAAAgD///////////////////////////////////////////////////////////////////////////////////////////////////////////////////////////////////////////////////////////////////////////////////////////////////////////////////////////////////////////////////////////////////////////////////////////////////////////////////////////////////////////////////////////////////////////////////////////////////////////////////////////////////////////////////////////////////////////////////////////////8BACAA////////////////AAAO////////AwAAAAMA////////////////////////////////////////////////////////////////////////////////////////////////////////////////////////////////////////////////////////////////////////////////////////////////////////////////////////////////////////////////////////////////////////////////////////////////////////////////////////////////////////////////////////////////////////////////////////////////////////////////////////////////////////////////////////////////////////////////////////////////////////////////////////AgACAP///////wUAAAACABAAC7f8gblEDyRMv0+stZYGtl4EAAAAAAADAAAAAAADAAAABAADAAAAAAD///////8DAAEA////////BQAAAAMAEAALTW9r+o5U6kmLQYu7GI51twQAAAABAAMAAAAEAAMAAAABAAQAAQD///////8FAAAABAAQAAvM7STPuWyNTqN/rrkjp5gW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yBuUQPJEy/T6y1lga2XgREYXRhAAUAAAAAAk5hbWUADQAAAExpbmtEYXRhTGlzdAAQVmVyc2lvbgAAAAAACUxhc3RXcml0ZQB3S9G9kQEAAAABAP////9hAGEAAAAFX2lkABAAAAAETW9r+o5U6kmLQYu7GI51twREYXRhAAUAAAAAAk5hbWUADQAAAExpbmtEYXRhTGlzdAAQVmVyc2lvbgABAAAACUxhc3RXcml0ZQCYS9G9kQEAAAACAP////9wAHAAAAAFX2lkABAAAAAEzO0kz7lsjU6jf665I6eYFgNEYXRhABYAAAACUGVyc29uYWxJZAABAAAAAAACTmFtZQALAAAAUGVyc29uYWxJZAAQVmVyc2lvbgAAAAAACUxhc3RXcml0ZQCyS9G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EAP///////wUAAAAEAP///////////////////////////////////////////////////////////////////////////////////////////////////////////////////////////////////////////////////////////////////////////////////////////////////////////////////////////////////////////////////////////////////////////////////////////////////////////////////////////////////////////////////////////////////////////////////////////////////////////////////////////////////////////////////////////////wEAIAH///////////////8AAA7///////8FAAAABAD///////////////////////////////////////////////////////////////////////////////////////////////////////////////////////////////////////////////////////////////////////////////////////////////////////////////////////////////////////////////////////////////////////////////////////////////////////////////////////////////////////////////////////////////////////////////////////////////////////////////////////////////////////////////////////////////////////////////////////////////////////////////////////8CAAIBAwAAAAIA////////DgAGTGlua0RhdGFMaXN0XzAEAAAAAAAFAAAAAAAFAAAAAwAFAAAAAAAFAAAABAADAAEBAwAAAAMA////////DgAGTGlua0RhdGFMaXN0XzEEAAAAAQAFAAAAAgAFAAAABAAEAAQBAwAAAAQA////////DAAGUGVyc29uYWxJZF8wBAAAAAIABQAAAAMABQAAAAEABQAAAAI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2959478125"/>
  <p:tag name="EMPOWERCHARTSPROPERTIES_SLOT" val="B"/>
  <p:tag name="RUNTIME_ID" val="a4222f33-8170-45a8-a26d-ec66de14c589"/>
</p:tagLst>
</file>

<file path=ppt/tags/tag34.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BAD///////8DAAAAAwD///////8DAAAAAwD///////8DAAAAAwD///////8DAAAAAwD///////8DAAAAAwD///////////////////////////////////////////////////////////////////////////////////////////////////////////////////////////////////////////////////////////////////////////////////////////////////////////////////////////////////////////////////////////////////////////////////////////////////////////////////////////////////////////////////////////////////////////////////////////////////////////////////////////////8BACAA////////////////AAAO////////AwAAAAMA////////////////////////////////////////////////////////////////////////////////////////////////////////////////////////////////////////////////////////////////////////////////////////////////////////////////////////////////////////////////////////////////////////////////////////////////////////////////////////////////////////////////////////////////////////////////////////////////////////////////////////////////////////////////////////////////////////////////////////////////////////////////////////AgABAP///////wUAAAACABAAC53ZaJszQ1hMikRbGCPWnZUEAAAAAAADAAAABAADAAAAAwADAAYA////////BQAAAAMAEAAL6KxF/Y3WnUi88PPP5wIeSQQAAAABAAMAAAACAAMAAAABAAMAAAAAAP///////wMAAAAAAP///////wMAAAAAAP///////wMAAAAAAP///////wMAAAAAAP///////wQAAQD///////8FAAAABAAQAAsS4gh8InByTqzFtFDCz5ju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dlomzNDWEyKRFsYI9adlQREYXRhAAUAAAAAAk5hbWUADQAAAExpbmtEYXRhTGlzdAAQVmVyc2lvbgABAAAACUxhc3RXcml0ZQCBGtK9kQEAAAABAP////9hAGEAAAAFX2lkABAAAAAE6KxF/Y3WnUi88PPP5wIeSQREYXRhAAUAAAAAAk5hbWUADQAAAExpbmtEYXRhTGlzdAAQVmVyc2lvbgAAAAAACUxhc3RXcml0ZQBxGtK9kQEAAAACAP////9wAHAAAAAFX2lkABAAAAAEEuIIfCJwck6sxbRQws+Y7gNEYXRhABYAAAACUGVyc29uYWxJZAABAAAAAAACTmFtZQALAAAAUGVyc29uYWxJZAAQVmVyc2lvbgAAAAAACUxhc3RXcml0ZQCYGtK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UAAAADAP///////wUAAAADAP///////////////////////////////////////////////////////////////////////////////////////////////////////////////////////////////////////////////////////////////////////////////////////////////////////////////////////////////////////////////////////////////////////////////////////////////////////////////////////////////////////////////////////////////////////////////////////////////////////////////////////////////wEAIAH///////////////8AAA7///////8FAAAABAD///////////////////////////////////////////////////////////////////////////////////////////////////////////////////////////////////////////////////////////////////////////////////////////////////////////////////////////////////////////////////////////////////////////////////////////////////////////////////////////////////////////////////////////////////////////////////////////////////////////////////////////////////////////////////////////////////////////////////////////////////////////////////////8CAAEBAwAAAAIA////////DgAGTGlua0RhdGFMaXN0XzEEAAAAAAAFAAAAAwAFAAAABAADAAYBAwAAAAMA////////DgAGTGlua0RhdGFMaXN0XzAEAAAAAQAFAAAAAAAFAAAAAgAFAAAAAAD///////8FAAAAAAD///////8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3489146675"/>
  <p:tag name="EMPOWERCHARTSPROPERTIES_SLOT" val="B"/>
  <p:tag name="RUNTIME_ID" val="093e5af9-8ee8-43c4-a8c5-e14a69dec2e9"/>
</p:tagLst>
</file>

<file path=ppt/tags/tag35.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BAD///////8DAAAAAwD///////////////////////////////////////////////////////////////////////////////////////////////////////////////////////////////////////////////////////////////////////////////////////////////////////////////////////////////////////////////////////////////////////////////////////////////////////////////////////////////////////////////////////////////////////////////////////////////////////////////////////////////////////////////////////////////////////////////8BACAA////////////////AAAO////////AwAAAAMA////////////////////////////////////////////////////////////////////////////////////////////////////////////////////////////////////////////////////////////////////////////////////////////////////////////////////////////////////////////////////////////////////////////////////////////////////////////////////////////////////////////////////////////////////////////////////////////////////////////////////////////////////////////////////////////////////////////////////////////////////////////////////////AgABAP///////wUAAAACABAAC3TaBZHnJZhErz2yqYN35/MEAAAAAAADAAAAAAADAAAABAADAAMA////////BQAAAAMAEAAL+Hb/7ZKuB0WhqCOr7UaOGwQAAAABAAMAAAAEAAMAAAABAAMAAAAEAP///////wMAAAAAAP///////wQAAgD///////8FAAAABAAQAAvyZRjC2tpJS4oVS/GzN2Vh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NoFkeclmESvPbKpg3fn8wREYXRhAAUAAAAAAk5hbWUADQAAAExpbmtEYXRhTGlzdAAQVmVyc2lvbgAAAAAACUxhc3RXcml0ZQBWhdK9kQEAAAABAP////9hAGEAAAAFX2lkABAAAAAE+Hb/7ZKuB0WhqCOr7UaOGwREYXRhAAUAAAAAAk5hbWUADQAAAExpbmtEYXRhTGlzdAAQVmVyc2lvbgABAAAACUxhc3RXcml0ZQBXhdK9kQEAAAACAP////9wAHAAAAAFX2lkABAAAAAE8mUYwtraSUuKFUvxszdlYQNEYXRhABYAAAACUGVyc29uYWxJZAABAAAAAAACTmFtZQALAAAAUGVyc29uYWxJZAAQVmVyc2lvbgAAAAAACUxhc3RXcml0ZQBxhdK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3762846358"/>
  <p:tag name="EMPOWERCHARTSPROPERTIES_SLOT" val="B"/>
  <p:tag name="RUNTIME_ID" val="51e241d1-2950-41ac-9cac-968ca9d478d0"/>
</p:tagLst>
</file>

<file path=ppt/tags/tag36.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gsAAAAAAAAAAAAAIAD///////////////8AAAD///////////////8DAAAAAgD///////8DAAAAAgD///////////////////////////////////////////////////////////////////////////////////////////////////////////////////////////////////////////////////////////////////////////////////////////////////////////////////////////////////////////////////////////////////////////////////////////////////////////////////////////////////////////////////////////////////////////////////////////////////////////////////////////////////////////////////////////////////////////////////////////////8BACAA////////////////AAAO////////AwAAAAQA////////////////////////////////////////////////////////////////////////////////////////////////////////////////////////////////////////////////////////////////////////////////////////////////////////////////////////////////////////////////////////////////////////////////////////////////////////////////////////////////////////////////////////////////////////////////////////////////////////////////////////////////////////////////////////////////////////////////////////////////////////////////////////AgACAP///////wUAAAACABAAC/X9cFQ6B5BEngnBAEBfhVkEAAAAAAADAAAAAAADAAAAAwADAAAAAAADAAAABAADAAEA////////BQAAAAMAEAAL0m19Zv7lHkarstP0yPSE7wQAAAABAAMAAAACAAMAAAAEAAQAAgD///////8FAAAABAAQAAsaGg38AE6DTLI7nUpbrO8vBAAAAAIAAwAAAAMAAwAAAAE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f1wVDoHkESeCcEAQF+FWQREYXRhAAUAAAAAAk5hbWUADQAAAExpbmtEYXRhTGlzdAAQVmVyc2lvbgAAAAAACUxhc3RXcml0ZQCwhdK9kQEAAAABAP////9hAGEAAAAFX2lkABAAAAAE0m19Zv7lHkarstP0yPSE7wREYXRhAAUAAAAAAk5hbWUADQAAAExpbmtEYXRhTGlzdAAQVmVyc2lvbgABAAAACUxhc3RXcml0ZQCxhdK9kQEAAAACAP////9wAHAAAAAFX2lkABAAAAAEGhoN/ABOg0yyO51KW6zvLwNEYXRhABYAAAACUGVyc29uYWxJZAABAAAAAAACTmFtZQALAAAAUGVyc29uYWxJZAAQVmVyc2lvbgAAAAAACUxhc3RXcml0ZQDXhdK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EAP///////////////////////////////////////////////////////////////////////////////////////////////////////////////////////////////////////////////////////////////////////////////////////////////////////////////////////////////////////////////////////////////////////////////////////////////////////////////////////////////////////////////////////////////////////////////////////////////////////////////////////////////////////////////////////////////////////////////wEAIAH///////////////8AAA7///////8FAAAABAD///////////////////////////////////////////////////////////////////////////////////////////////////////////////////////////////////////////////////////////////////////////////////////////////////////////////////////////////////////////////////////////////////////////////////////////////////////////////////////////////////////////////////////////////////////////////////////////////////////////////////////////////////////////////////////////////////////////////////////////////////////////////////////8CAAIBAwAAAAIA////////DgAGTGlua0RhdGFMaXN0XzAEAAAAAAAFAAAAAAAFAAAAAwAFAAAAAAAFAAAABAADAAEBAwAAAAMA////////DgAGTGlua0RhdGFMaXN0XzEEAAAAAQAFAAAAAgAFAAAABAAEAAMBAwAAAAQA////////DAAGUGVyc29uYWxJZF8wBAAAAAIABQAAAAM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3763674939"/>
  <p:tag name="EMPOWERCHARTSPROPERTIES_SLOT" val="B"/>
  <p:tag name="RUNTIME_ID" val="b4a70272-05f1-404c-ba58-848657a19d75"/>
</p:tagLst>
</file>

<file path=ppt/tags/tag37.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BAD///////////////////////////////////////////////////////////////////////////////////////////////////////////////////////////////////////////////////////////////////////////////////////////////////////////////////////////////////////////////////////////////////////////////////////////////////////////////////////////////////////////////////////////////////////////////////////////////////////////////////////////////////////////////////////////////////////////////////////////////8BACAA////////////////AAAO////////AwAAAAMA////////////////////////////////////////////////////////////////////////////////////////////////////////////////////////////////////////////////////////////////////////////////////////////////////////////////////////////////////////////////////////////////////////////////////////////////////////////////////////////////////////////////////////////////////////////////////////////////////////////////////////////////////////////////////////////////////////////////////////////////////////////////////////AgABAP///////wUAAAACABAAC1NmhzPovo1EiXGGgvGXkQUEAAAAAAADAAAAAAADAAAABAADAAIA////////BQAAAAMAEAALlkvH8wt13kWEPDOWgX+RAwQAAAABAAMAAAAEAAMAAAABAAMAAAAEAP///////wQAAgD///////8FAAAABAAQAAtUomR/Fpu+Qamxj6HB4gWW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2aHM+i+jUSJcYaC8ZeRBQREYXRhAAUAAAAAAk5hbWUADQAAAExpbmtEYXRhTGlzdAAQVmVyc2lvbgAAAAAACUxhc3RXcml0ZQCjj7W9kQEAAAABAP////9hAGEAAAAFX2lkABAAAAAElkvH8wt13kWEPDOWgX+RAwREYXRhAAUAAAAAAk5hbWUADQAAAExpbmtEYXRhTGlzdAAQVmVyc2lvbgABAAAACUxhc3RXcml0ZQClj7W9kQEAAAACAP////9wAHAAAAAFX2lkABAAAAAEVKJkfxabvkGpsY+hweIFlgNEYXRhABYAAAACUGVyc29uYWxJZAABAAAAAAACTmFtZQALAAAAUGVyc29uYWxJZAAQVmVyc2lvbgAAAAAACUxhc3RXcml0ZQC7j7W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14783767365"/>
  <p:tag name="EMPOWERCHARTSPROPERTIES_SLOT" val="B"/>
  <p:tag name="RUNTIME_ID" val="e419069b-369e-44a5-ab3f-dc38ddd06778"/>
</p:tagLst>
</file>

<file path=ppt/tags/tag38.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BAD///////////////////////////////////////////////////////////////////////////////////////////////////////////////////////////////////////////////////////////////////////////////////////////////////////////////////////////////////////////////////////////////////////////////////////////////////////////////////////////////////////////////////////////////////////////////////////////////////////////////////////////////////////////////////////////////////////////////////////////////8BACAA////////////////AAAO////////AwAAAAMA////////////////////////////////////////////////////////////////////////////////////////////////////////////////////////////////////////////////////////////////////////////////////////////////////////////////////////////////////////////////////////////////////////////////////////////////////////////////////////////////////////////////////////////////////////////////////////////////////////////////////////////////////////////////////////////////////////////////////////////////////////////////////////AgABAP///////wUAAAACABAAC1NmhzPovo1EiXGGgvGXkQUEAAAAAAADAAAAAAADAAAABAADAAIA////////BQAAAAMAEAALlkvH8wt13kWEPDOWgX+RAwQAAAABAAMAAAAEAAMAAAABAAMAAAAEAP///////wQAAgD///////8FAAAABAAQAAtUomR/Fpu+Qamxj6HB4gWW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2aHM+i+jUSJcYaC8ZeRBQREYXRhAAUAAAAAAk5hbWUADQAAAExpbmtEYXRhTGlzdAAQVmVyc2lvbgAAAAAACUxhc3RXcml0ZQCjj7W9kQEAAAABAP////9hAGEAAAAFX2lkABAAAAAElkvH8wt13kWEPDOWgX+RAwREYXRhAAUAAAAAAk5hbWUADQAAAExpbmtEYXRhTGlzdAAQVmVyc2lvbgABAAAACUxhc3RXcml0ZQClj7W9kQEAAAACAP////9wAHAAAAAFX2lkABAAAAAEVKJkfxabvkGpsY+hweIFlgNEYXRhABYAAAACUGVyc29uYWxJZAABAAAAAAACTmFtZQALAAAAUGVyc29uYWxJZAAQVmVyc2lvbgAAAAAACUxhc3RXcml0ZQC7j7W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14783767365"/>
  <p:tag name="EMPOWERCHARTSPROPERTIES_SLOT" val="B"/>
  <p:tag name="RUNTIME_ID" val="7d274683-336a-4366-ac70-1dd77d02a9c6"/>
</p:tagLst>
</file>

<file path=ppt/tags/tag39.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BAQEBAQEBAQEBAQEBAQMAAAAAAAAAAwAAAAMAAAAA/////wUACgwAAAAAAAAAAAAAIAD///////////////8AAAD///////////////8DAAAAAgD///////8DAAAAAwD///////////////////////////////////////////////////////////////////////////////////////////////////////////////////////////////////////////////////////////////////////////////////////////////////////////////////////////////////////////////////////////////////////////////////////////////////////////////////////////////////////////////////////////////////////////////////////////////////////////////////////////////////////////////////////////////////////////////////////////////8BACAA////////////////AAAO////////AwAAAAMA////////////////////////////////////////////////////////////////////////////////////////////////////////////////////////////////////////////////////////////////////////////////////////////////////////////////////////////////////////////////////////////////////////////////////////////////////////////////////////////////////////////////////////////////////////////////////////////////////////////////////////////////////////////////////////////////////////////////////////////////////////////////////////AgABAP///////wUAAAACABAAC56Y7SiaJYdLlkmW95jgQbAEAAAAAAADAAAAAAADAAAABAADAAIA////////BQAAAAMAEAALM81Yi/F74ESJeTEdXHLXzAQAAAABAAMAAAAEAAMAAAABAAMAAAAAAP///////wQAAQD///////8FAAAABAAQAAuMCJOEXfyER7bqCCpCNjUJ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pjtKJolh0uWSZb3mOBBsAREYXRhAAUAAAAAAk5hbWUADQAAAExpbmtEYXRhTGlzdAAQVmVyc2lvbgAAAAAACUxhc3RXcml0ZQD0jtG9kQEAAAABAP////9hAGEAAAAFX2lkABAAAAAEM81Yi/F74ESJeTEdXHLXzAREYXRhAAUAAAAAAk5hbWUADQAAAExpbmtEYXRhTGlzdAAQVmVyc2lvbgABAAAACUxhc3RXcml0ZQD1jtG9kQEAAAACAP////9wAHAAAAAFX2lkABAAAAAEjAiThF38hEe26ggqQjY1CQNEYXRhABYAAAACUGVyc29uYWxJZAABAAAAAAACTmFtZQALAAAAUGVyc29uYWxJZAAQVmVyc2lvbgAAAAAACUxhc3RXcml0ZQARj9G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DAP///////wUAAAAEAP///////wUAAAAEAP///////wUAAAAEAP///////wUAAAAEAP///////////////////////////////////////////////////////////////////////////////////////////////////////////////////////////////////////////////////////////////////////////////////////////////////////////////////////////////////////////////////////////////////////////////////////////////////////////////////////////////////////////////////////////////////////////////////////////////////////////////////////////////wEAIAH///////////////8AAA7///////8FAAAABAD///////////////////////////////////////////////////////////////////////////////////////////////////////////////////////////////////////////////////////////////////////////////////////////////////////////////////////////////////////////////////////////////////////////////////////////////////////////////////////////////////////////////////////////////////////////////////////////////////////////////////////////////////////////////////////////////////////////////////////////////////////////////////////8CAAEBAwAAAAIA////////DgAGTGlua0RhdGFMaXN0XzAEAAAAAAAFAAAAAAAFAAAAAwADAAIBAwAAAAMA////////DgAGTGlua0RhdGFMaXN0XzEEAAAAAQAFAAAAAgAFAAAABAAFAAAAAAAFAAAABAAEAAYBAwAAAAQA////////DAAGUGVyc29uYWxJZF8wBAAAAAIABQAAAAMABQAAAAEABQAAAAM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3131965899"/>
  <p:tag name="EMPOWERCHARTSPROPERTIES_SLOT" val="B"/>
  <p:tag name="RUNTIME_ID" val="24a59a90-c722-4345-a057-dfa4efc94399"/>
</p:tagLst>
</file>

<file path=ppt/tags/tag4.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 val="3965"/>
  <p:tag name="MIO_EKGUID" val="66631306-e1f1-4de6-86ed-78ed67ba2555"/>
  <p:tag name="MIO_GUID" val="058c280e-5383-4d49-941a-32b5000483ea"/>
  <p:tag name="MIO_LASTDOWNLOADED" val="06.09.2022 11:56:12.398"/>
  <p:tag name="MIO_LASTEDITORNAME" val="Stephan Kuhnert"/>
  <p:tag name="MIO_OBJECTNAME" val="1 Footnote"/>
  <p:tag name="MIO_SHAPETYPES_TEXTELEMENT" val="MIO_FOOTNOTE"/>
  <p:tag name="MIO_SKIP_CDCHECK" val="True"/>
  <p:tag name="MIO_UPDATE" val="True"/>
  <p:tag name="MIO_VERSION" val="06.05.2020 20:08:27"/>
</p:tagLst>
</file>

<file path=ppt/tags/tag40.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5gsAAAAAAAAAAAAAIAD///////////////8AAAD///////////////8DAAAAAgD///////8DAAAAAwD///////8DAAAAAwD///////8DAAAAAwD///////8DAAAAAwD///////////////////////////////////////////////////////////////////////////////////////////////////////////////////////////////////////////////////////////////////////////////////////////////////////////////////////////////////////////////////////////////////////////////////////////////////////////////////////////////////////////////////////////////////////////////////////////////////////////////////////////////////////////////8BACAA////////////////AAAO////////AwAAAAQA////////////////////////////////////////////////////////////////////////////////////////////////////////////////////////////////////////////////////////////////////////////////////////////////////////////////////////////////////////////////////////////////////////////////////////////////////////////////////////////////////////////////////////////////////////////////////////////////////////////////////////////////////////////////////////////////////////////////////////////////////////////////////////AgABAP///////wUAAAACABAACxJRpk5tcLNBlPHzwCcEfpkEAAAAAAADAAAAAAADAAAAAwADAAUA////////BQAAAAMAEAALoCefbwqHjkG1aaqDNHsgtwQAAAABAAMAAAACAAMAAAAEAAMAAAAAAP///////wMAAAAAAP///////wMAAAAAAP///////wMAAAAAAP///////wQAAQD///////8FAAAABAAQAAtNC252Cj4rQozaGZ6GqS0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lGmTm1ws0GU8fPAJwR+mQREYXRhAAUAAAAAAk5hbWUADQAAAExpbmtEYXRhTGlzdAAQVmVyc2lvbgABAAAACUxhc3RXcml0ZQBWj9G9kQEAAAABAP////9hAGEAAAAFX2lkABAAAAAEoCefbwqHjkG1aaqDNHsgtwREYXRhAAUAAAAAAk5hbWUADQAAAExpbmtEYXRhTGlzdAAQVmVyc2lvbgAAAAAACUxhc3RXcml0ZQBUj9G9kQEAAAACAP////9wAHAAAAAFX2lkABAAAAAETQtudgo+K0KM2hmehqktJQNEYXRhABYAAAACUGVyc29uYWxJZAABAAAAAAACTmFtZQALAAAAUGVyc29uYWxJZAAQVmVyc2lvbgAAAAAACUxhc3RXcml0ZQBzj9G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UAAAADAP///////////////////////////////////////////////////////////////////////////////////////////////////////////////////////////////////////////////////////////////////////////////////////////////////////////////////////////////////////////////////////////////////////////////////////////////////////////////////////////////////////////////////////////////////////////////////////////////////////////////////////////////////////////////wEAIAH///////////////8AAA7///////8FAAAABAD///////////////////////////////////////////////////////////////////////////////////////////////////////////////////////////////////////////////////////////////////////////////////////////////////////////////////////////////////////////////////////////////////////////////////////////////////////////////////////////////////////////////////////////////////////////////////////////////////////////////////////////////////////////////////////////////////////////////////////////////////////////////////////8CAAEBAwAAAAIA////////DgAGTGlua0RhdGFMaXN0XzEEAAAAAAAFAAAAAwAFAAAABAADAAUBAwAAAAMA////////DgAGTGlua0RhdGFMaXN0XzAEAAAAAQAFAAAAAAAFAAAAAgAFAAAAAAAFAAAABAAFAAAAAAD///////8FAAAAAAD///////8FAAAAAAD///////8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3133225717"/>
  <p:tag name="EMPOWERCHARTSPROPERTIES_SLOT" val="B"/>
  <p:tag name="RUNTIME_ID" val="4da70058-a717-4aa9-b59c-90f5a96df9c5"/>
</p:tagLst>
</file>

<file path=ppt/tags/tag41.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3FhbTOgpy9CuW/8hJlSjxAEAAAAAAADAAAAAAADAAAABAADAAAAAAD///////8DAAEA////////BQAAAAMAEAALSy4Tllx2mkSeLEVwH3ypKQQAAAABAAMAAAAEAAMAAAABAAQAAQD///////8FAAAABAAQAAvRgZA19/E8Q5sc0elAAD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WFtM6CnL0K5b/yEmVKPEAREYXRhAAUAAAAAAk5hbWUADQAAAExpbmtEYXRhTGlzdAAQVmVyc2lvbgAAAAAACUxhc3RXcml0ZQAo99G9kQEAAAABAP////9hAGEAAAAFX2lkABAAAAAESy4Tllx2mkSeLEVwH3ypKQREYXRhAAUAAAAAAk5hbWUADQAAAExpbmtEYXRhTGlzdAAQVmVyc2lvbgABAAAACUxhc3RXcml0ZQAt99G9kQEAAAACAP////9wAHAAAAAFX2lkABAAAAAE0YGQNffxPEObHNHpQAA3UQNEYXRhABYAAAACUGVyc29uYWxJZAABAAAAAAACTmFtZQALAAAAUGVyc29uYWxJZAAQVmVyc2lvbgAAAAAACUxhc3RXcml0ZQBF99G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3398678516"/>
  <p:tag name="EMPOWERCHARTSPROPERTIES_SLOT" val="B"/>
  <p:tag name="RUNTIME_ID" val="3c6b0687-e3fe-4314-8281-7baa1344f5cb"/>
</p:tagLst>
</file>

<file path=ppt/tags/tag42.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MAAAAAAAAAAwAAAAMAAAAA/////wUA2gsAAAAAAAAAAAAAIAD///////////////8AAAD///////////////8DAAAAAgD///////8DAAAAAwD///////8DAAAAAwD///////8DAAAABAD///////////////////////////////////////////////////////////////////////////////////////////////////////////////////////////////////////////////////////////////////////////////////////////////////////////////////////////////////////////////////////////////////////////////////////////////////////////////////////////////////////////////////////////////////////////////////////////////////////////////////////////////////////////////////////////////8BACAA////////////////AAAO////////AwAAAAQA////////////////////////////////////////////////////////////////////////////////////////////////////////////////////////////////////////////////////////////////////////////////////////////////////////////////////////////////////////////////////////////////////////////////////////////////////////////////////////////////////////////////////////////////////////////////////////////////////////////////////////////////////////////////////////////////////////////////////////////////////////////////////////AgABAP///////wUAAAACABAAC5cng0Iy3TJJmGTyRF7kF0IEAAAAAAADAAAAAAADAAAAAwADAAMA////////BQAAAAMAEAALzvA6UojypEChj4gZNjTaAwQAAAABAAMAAAACAAMAAAAEAAMAAAAAAAMAAAAEAAMAAAAAAAMAAAAEAAQABAD///////8FAAAABAAQAAuNJmOiJzrJT5OPf3bQRu93BAAAAAIAAwAAAAMAAwAAAAEAAwAAAAM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yeDQjLdMkmYZPJEXuQXQgREYXRhAAUAAAAAAk5hbWUADQAAAExpbmtEYXRhTGlzdAAQVmVyc2lvbgAAAAAACUxhc3RXcml0ZQDa9tG9kQEAAAABAP////9hAGEAAAAFX2lkABAAAAAEzvA6UojypEChj4gZNjTaAwREYXRhAAUAAAAAAk5hbWUADQAAAExpbmtEYXRhTGlzdAAQVmVyc2lvbgABAAAACUxhc3RXcml0ZQDc9tG9kQEAAAACAP////9wAHAAAAAFX2lkABAAAAAEjSZjoic6yU+Tj3920EbvdwNEYXRhABYAAAACUGVyc29uYWxJZAABAAAAAAACTmFtZQALAAAAUGVyc29uYWxJZAAQVmVyc2lvbgAAAAAACUxhc3RXcml0ZQD19tG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3397853289"/>
  <p:tag name="EMPOWERCHARTSPROPERTIES_SLOT" val="B"/>
  <p:tag name="RUNTIME_ID" val="4f65ff00-c9d5-4a76-9815-f79aabb9c6c4"/>
</p:tagLst>
</file>

<file path=ppt/tags/tag43.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MAAAAAAAAAAwAAAAMAAAAA/////wUA5gsAAAAAAAAAAAAAIAD///////////////8AAAD///////////////8DAAAABAD///////8DAAAABAD///////8DAAAABAD///////8DAAAABAD///////8DAAAABAD///////////////////////////////////////////////////////////////////////////////////////////////////////////////////////////////////////////////////////////////////////////////////////////////////////////////////////////////////////////////////////////////////////////////////////////////////////////////////////////////////////////////////////////////////////////////////////////////////////////////////////////////////////////////8BACAA////////////////AAAO////////AwAAAAMA////////////////////////////////////////////////////////////////////////////////////////////////////////////////////////////////////////////////////////////////////////////////////////////////////////////////////////////////////////////////////////////////////////////////////////////////////////////////////////////////////////////////////////////////////////////////////////////////////////////////////////////////////////////////////////////////////////////////////////////////////////////////////////AgABAP///////wUAAAACABAAC8p8aIZ8ouJHs8EMtcmC2G8EAAAAAAADAAAABAADAAAAAwADAAEA////////BQAAAAMAEAALRDyM3cqbp0O39lKJuyZlFAQAAAABAAMAAAACAAMAAAABAAQABQD///////8FAAAABAAQAAv/+0Vjj/RsQYUNIR4ZB5YdBAAAAAIAAwAAAAAAAwAAAAI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nxohnyi4kezwQy1yYLYbwREYXRhAAUAAAAAAk5hbWUADQAAAExpbmtEYXRhTGlzdAAQVmVyc2lvbgAAAAAACUxhc3RXcml0ZQDqXtK9kQEAAAABAP////9hAGEAAAAFX2lkABAAAAAERDyM3cqbp0O39lKJuyZlFAREYXRhAAUAAAAAAk5hbWUADQAAAExpbmtEYXRhTGlzdAAQVmVyc2lvbgABAAAACUxhc3RXcml0ZQDxXtK9kQEAAAACAP////9wAHAAAAAFX2lkABAAAAAE//tFY4/0bEGFDSEeGQeWHQNEYXRhABYAAAACUGVyc29uYWxJZAABAAAAAAACTmFtZQALAAAAUGVyc29uYWxJZAAQVmVyc2lvbgAAAAAACUxhc3RXcml0ZQARX9K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3664455015"/>
  <p:tag name="EMPOWERCHARTSPROPERTIES_SLOT" val="B"/>
  <p:tag name="RUNTIME_ID" val="12f21ae7-2711-4538-b1de-d99e0d278dcb"/>
</p:tagLst>
</file>

<file path=ppt/tags/tag44.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MAAAAAAAAAAwAAAAMAAAAA/////wUA/gsAAAAAAAAAAAAAIAD///////////////8AAAD///////////////8DAAAABAD///////8DAAAABAD///////8DAAAABAD///////////////////////////////////////////////////////////////////////////////////////////////////////////////////////////////////////////////////////////////////////////////////////////////////////////////////////////////////////////////////////////////////////////////////////////////////////////////////////////////////////////////////////////////////////////////////////////////////////////////////////////////////////////////////////////////////////////////8BACAA////////////////AAAO////////AwAAAAMA////////////////////////////////////////////////////////////////////////////////////////////////////////////////////////////////////////////////////////////////////////////////////////////////////////////////////////////////////////////////////////////////////////////////////////////////////////////////////////////////////////////////////////////////////////////////////////////////////////////////////////////////////////////////////////////////////////////////////////////////////////////////////////AgABAP///////wUAAAACABAACwReAxY6MsVIiaHWzbAHa6sEAAAAAAADAAAABAADAAAAAwADAAEA////////BQAAAAMAEAALmu/Wex5310CuXBzHGkARMAQAAAABAAMAAAACAAMAAAABAAQAAwD///////8FAAAABAAQAAsa12YPekSxSb2afqpiZev8BAAAAAIAAwAAAAA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F4DFjoyxUiJodbNsAdrqwREYXRhAAUAAAAAAk5hbWUADQAAAExpbmtEYXRhTGlzdAAQVmVyc2lvbgABAAAACUxhc3RXcml0ZQCZXtK9kQEAAAABAP////9hAGEAAAAFX2lkABAAAAAEmu/Wex5310CuXBzHGkARMAREYXRhAAUAAAAAAk5hbWUADQAAAExpbmtEYXRhTGlzdAAQVmVyc2lvbgAAAAAACUxhc3RXcml0ZQCYXtK9kQEAAAACAP////9wAHAAAAAFX2lkABAAAAAEGtdmD3pEsUm9mn6qYmXr/ANEYXRhABYAAAACUGVyc29uYWxJZAABAAAAAAACTmFtZQALAAAAUGVyc29uYWxJZAAQVmVyc2lvbgAAAAAACUxhc3RXcml0ZQC1XtK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3663523309"/>
  <p:tag name="EMPOWERCHARTSPROPERTIES_SLOT" val="B"/>
  <p:tag name="RUNTIME_ID" val="382d448e-43d4-4c40-89e8-c1b217648c83"/>
</p:tagLst>
</file>

<file path=ppt/tags/tag45.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BAQEBAQEBAQEBAQEBAQMAAAAAAAAAAwAAAAMAAAAA/////wUACgwAAAAAAAAAAAAAIAD///////////////8AAAD///////////////8DAAAAAgD///////8DAAAAAwD///////////////////////////////////////////////////////////////////////////////////////////////////////////////////////////////////////////////////////////////////////////////////////////////////////////////////////////////////////////////////////////////////////////////////////////////////////////////////////////////////////////////////////////////////////////////////////////////////////////////////////////////////////////////////////////////////////////////////////////////8BACAA////////////////AAAO////////AwAAAAMA////////////////////////////////////////////////////////////////////////////////////////////////////////////////////////////////////////////////////////////////////////////////////////////////////////////////////////////////////////////////////////////////////////////////////////////////////////////////////////////////////////////////////////////////////////////////////////////////////////////////////////////////////////////////////////////////////////////////////////////////////////////////////////AgABAP///////wUAAAACABAAC56Y7SiaJYdLlkmW95jgQbAEAAAAAAADAAAAAAADAAAABAADAAIA////////BQAAAAMAEAALM81Yi/F74ESJeTEdXHLXzAQAAAABAAMAAAAEAAMAAAABAAMAAAAAAP///////wQAAQD///////8FAAAABAAQAAuMCJOEXfyER7bqCCpCNjUJ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pjtKJolh0uWSZb3mOBBsAREYXRhAAUAAAAAAk5hbWUADQAAAExpbmtEYXRhTGlzdAAQVmVyc2lvbgAAAAAACUxhc3RXcml0ZQD0jtG9kQEAAAABAP////9hAGEAAAAFX2lkABAAAAAEM81Yi/F74ESJeTEdXHLXzAREYXRhAAUAAAAAAk5hbWUADQAAAExpbmtEYXRhTGlzdAAQVmVyc2lvbgABAAAACUxhc3RXcml0ZQD1jtG9kQEAAAACAP////9wAHAAAAAFX2lkABAAAAAEjAiThF38hEe26ggqQjY1CQNEYXRhABYAAAACUGVyc29uYWxJZAABAAAAAAACTmFtZQALAAAAUGVyc29uYWxJZAAQVmVyc2lvbgAAAAAACUxhc3RXcml0ZQARj9G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DAP///////wUAAAAEAP///////wUAAAAEAP///////wUAAAAEAP///////wUAAAAEAP///////////////////////////////////////////////////////////////////////////////////////////////////////////////////////////////////////////////////////////////////////////////////////////////////////////////////////////////////////////////////////////////////////////////////////////////////////////////////////////////////////////////////////////////////////////////////////////////////////////////////////////////wEAIAH///////////////8AAA7///////8FAAAABAD///////////////////////////////////////////////////////////////////////////////////////////////////////////////////////////////////////////////////////////////////////////////////////////////////////////////////////////////////////////////////////////////////////////////////////////////////////////////////////////////////////////////////////////////////////////////////////////////////////////////////////////////////////////////////////////////////////////////////////////////////////////////////////8CAAEBAwAAAAIA////////DgAGTGlua0RhdGFMaXN0XzAEAAAAAAAFAAAAAAAFAAAAAwADAAIBAwAAAAMA////////DgAGTGlua0RhdGFMaXN0XzEEAAAAAQAFAAAAAgAFAAAABAAFAAAAAAAFAAAABAAEAAYBAwAAAAQA////////DAAGUGVyc29uYWxJZF8wBAAAAAIABQAAAAMABQAAAAEABQAAAAM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3131965899"/>
  <p:tag name="EMPOWERCHARTSPROPERTIES_SLOT" val="B"/>
  <p:tag name="RUNTIME_ID" val="24a59a90-c722-4345-a057-dfa4efc94399"/>
</p:tagLst>
</file>

<file path=ppt/tags/tag46.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5gsAAAAAAAAAAAAAIAD///////////////8AAAD///////////////8DAAAAAgD///////8DAAAAAwD///////8DAAAAAwD///////8DAAAAAwD///////8DAAAAAwD///////////////////////////////////////////////////////////////////////////////////////////////////////////////////////////////////////////////////////////////////////////////////////////////////////////////////////////////////////////////////////////////////////////////////////////////////////////////////////////////////////////////////////////////////////////////////////////////////////////////////////////////////////////////8BACAA////////////////AAAO////////AwAAAAQA////////////////////////////////////////////////////////////////////////////////////////////////////////////////////////////////////////////////////////////////////////////////////////////////////////////////////////////////////////////////////////////////////////////////////////////////////////////////////////////////////////////////////////////////////////////////////////////////////////////////////////////////////////////////////////////////////////////////////////////////////////////////////////AgABAP///////wUAAAACABAACxJRpk5tcLNBlPHzwCcEfpkEAAAAAAADAAAAAAADAAAAAwADAAUA////////BQAAAAMAEAALoCefbwqHjkG1aaqDNHsgtwQAAAABAAMAAAACAAMAAAAEAAMAAAAAAP///////wMAAAAAAP///////wMAAAAAAP///////wMAAAAAAP///////wQAAQD///////8FAAAABAAQAAtNC252Cj4rQozaGZ6GqS0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lGmTm1ws0GU8fPAJwR+mQREYXRhAAUAAAAAAk5hbWUADQAAAExpbmtEYXRhTGlzdAAQVmVyc2lvbgABAAAACUxhc3RXcml0ZQBWj9G9kQEAAAABAP////9hAGEAAAAFX2lkABAAAAAEoCefbwqHjkG1aaqDNHsgtwREYXRhAAUAAAAAAk5hbWUADQAAAExpbmtEYXRhTGlzdAAQVmVyc2lvbgAAAAAACUxhc3RXcml0ZQBUj9G9kQEAAAACAP////9wAHAAAAAFX2lkABAAAAAETQtudgo+K0KM2hmehqktJQNEYXRhABYAAAACUGVyc29uYWxJZAABAAAAAAACTmFtZQALAAAAUGVyc29uYWxJZAAQVmVyc2lvbgAAAAAACUxhc3RXcml0ZQBzj9G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UAAAADAP///////////////////////////////////////////////////////////////////////////////////////////////////////////////////////////////////////////////////////////////////////////////////////////////////////////////////////////////////////////////////////////////////////////////////////////////////////////////////////////////////////////////////////////////////////////////////////////////////////////////////////////////////////////////wEAIAH///////////////8AAA7///////8FAAAABAD///////////////////////////////////////////////////////////////////////////////////////////////////////////////////////////////////////////////////////////////////////////////////////////////////////////////////////////////////////////////////////////////////////////////////////////////////////////////////////////////////////////////////////////////////////////////////////////////////////////////////////////////////////////////////////////////////////////////////////////////////////////////////////8CAAEBAwAAAAIA////////DgAGTGlua0RhdGFMaXN0XzEEAAAAAAAFAAAAAwAFAAAABAADAAUBAwAAAAMA////////DgAGTGlua0RhdGFMaXN0XzAEAAAAAQAFAAAAAAAFAAAAAgAFAAAAAAAFAAAABAAFAAAAAAD///////8FAAAAAAD///////8FAAAAAAD///////8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3133225717"/>
  <p:tag name="EMPOWERCHARTSPROPERTIES_SLOT" val="B"/>
  <p:tag name="RUNTIME_ID" val="4da70058-a717-4aa9-b59c-90f5a96df9c5"/>
</p:tagLst>
</file>

<file path=ppt/tags/tag47.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3FhbTOgpy9CuW/8hJlSjxAEAAAAAAADAAAAAAADAAAABAADAAAAAAD///////8DAAEA////////BQAAAAMAEAALSy4Tllx2mkSeLEVwH3ypKQQAAAABAAMAAAAEAAMAAAABAAQAAQD///////8FAAAABAAQAAvRgZA19/E8Q5sc0elAAD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WFtM6CnL0K5b/yEmVKPEAREYXRhAAUAAAAAAk5hbWUADQAAAExpbmtEYXRhTGlzdAAQVmVyc2lvbgAAAAAACUxhc3RXcml0ZQAo99G9kQEAAAABAP////9hAGEAAAAFX2lkABAAAAAESy4Tllx2mkSeLEVwH3ypKQREYXRhAAUAAAAAAk5hbWUADQAAAExpbmtEYXRhTGlzdAAQVmVyc2lvbgABAAAACUxhc3RXcml0ZQAt99G9kQEAAAACAP////9wAHAAAAAFX2lkABAAAAAE0YGQNffxPEObHNHpQAA3UQNEYXRhABYAAAACUGVyc29uYWxJZAABAAAAAAACTmFtZQALAAAAUGVyc29uYWxJZAAQVmVyc2lvbgAAAAAACUxhc3RXcml0ZQBF99G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3398678516"/>
  <p:tag name="EMPOWERCHARTSPROPERTIES_SLOT" val="B"/>
  <p:tag name="RUNTIME_ID" val="3c6b0687-e3fe-4314-8281-7baa1344f5cb"/>
</p:tagLst>
</file>

<file path=ppt/tags/tag48.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MAAAAAAAAAAwAAAAMAAAAA/////wUA2gsAAAAAAAAAAAAAIAD///////////////8AAAD///////////////8DAAAAAgD///////8DAAAAAwD///////8DAAAAAwD///////8DAAAABAD///////////////////////////////////////////////////////////////////////////////////////////////////////////////////////////////////////////////////////////////////////////////////////////////////////////////////////////////////////////////////////////////////////////////////////////////////////////////////////////////////////////////////////////////////////////////////////////////////////////////////////////////////////////////////////////////8BACAA////////////////AAAO////////AwAAAAQA////////////////////////////////////////////////////////////////////////////////////////////////////////////////////////////////////////////////////////////////////////////////////////////////////////////////////////////////////////////////////////////////////////////////////////////////////////////////////////////////////////////////////////////////////////////////////////////////////////////////////////////////////////////////////////////////////////////////////////////////////////////////////////AgABAP///////wUAAAACABAAC5cng0Iy3TJJmGTyRF7kF0IEAAAAAAADAAAAAAADAAAAAwADAAMA////////BQAAAAMAEAALzvA6UojypEChj4gZNjTaAwQAAAABAAMAAAACAAMAAAAEAAMAAAAAAAMAAAAEAAMAAAAAAAMAAAAEAAQABAD///////8FAAAABAAQAAuNJmOiJzrJT5OPf3bQRu93BAAAAAIAAwAAAAMAAwAAAAEAAwAAAAM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yeDQjLdMkmYZPJEXuQXQgREYXRhAAUAAAAAAk5hbWUADQAAAExpbmtEYXRhTGlzdAAQVmVyc2lvbgAAAAAACUxhc3RXcml0ZQDa9tG9kQEAAAABAP////9hAGEAAAAFX2lkABAAAAAEzvA6UojypEChj4gZNjTaAwREYXRhAAUAAAAAAk5hbWUADQAAAExpbmtEYXRhTGlzdAAQVmVyc2lvbgABAAAACUxhc3RXcml0ZQDc9tG9kQEAAAACAP////9wAHAAAAAFX2lkABAAAAAEjSZjoic6yU+Tj3920EbvdwNEYXRhABYAAAACUGVyc29uYWxJZAABAAAAAAACTmFtZQALAAAAUGVyc29uYWxJZAAQVmVyc2lvbgAAAAAACUxhc3RXcml0ZQD19tG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3397853289"/>
  <p:tag name="EMPOWERCHARTSPROPERTIES_SLOT" val="B"/>
  <p:tag name="RUNTIME_ID" val="4f65ff00-c9d5-4a76-9815-f79aabb9c6c4"/>
</p:tagLst>
</file>

<file path=ppt/tags/tag49.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MAAAAAAAAAAwAAAAMAAAAA/////wUA5gsAAAAAAAAAAAAAIAD///////////////8AAAD///////////////8DAAAABAD///////8DAAAABAD///////8DAAAABAD///////8DAAAABAD///////8DAAAABAD///////////////////////////////////////////////////////////////////////////////////////////////////////////////////////////////////////////////////////////////////////////////////////////////////////////////////////////////////////////////////////////////////////////////////////////////////////////////////////////////////////////////////////////////////////////////////////////////////////////////////////////////////////////////8BACAA////////////////AAAO////////AwAAAAMA////////////////////////////////////////////////////////////////////////////////////////////////////////////////////////////////////////////////////////////////////////////////////////////////////////////////////////////////////////////////////////////////////////////////////////////////////////////////////////////////////////////////////////////////////////////////////////////////////////////////////////////////////////////////////////////////////////////////////////////////////////////////////////AgABAP///////wUAAAACABAAC8p8aIZ8ouJHs8EMtcmC2G8EAAAAAAADAAAABAADAAAAAwADAAEA////////BQAAAAMAEAALRDyM3cqbp0O39lKJuyZlFAQAAAABAAMAAAACAAMAAAABAAQABQD///////8FAAAABAAQAAv/+0Vjj/RsQYUNIR4ZB5YdBAAAAAIAAwAAAAAAAwAAAAI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nxohnyi4kezwQy1yYLYbwREYXRhAAUAAAAAAk5hbWUADQAAAExpbmtEYXRhTGlzdAAQVmVyc2lvbgAAAAAACUxhc3RXcml0ZQDqXtK9kQEAAAABAP////9hAGEAAAAFX2lkABAAAAAERDyM3cqbp0O39lKJuyZlFAREYXRhAAUAAAAAAk5hbWUADQAAAExpbmtEYXRhTGlzdAAQVmVyc2lvbgABAAAACUxhc3RXcml0ZQDxXtK9kQEAAAACAP////9wAHAAAAAFX2lkABAAAAAE//tFY4/0bEGFDSEeGQeWHQNEYXRhABYAAAACUGVyc29uYWxJZAABAAAAAAACTmFtZQALAAAAUGVyc29uYWxJZAAQVmVyc2lvbgAAAAAACUxhc3RXcml0ZQARX9K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3664455015"/>
  <p:tag name="EMPOWERCHARTSPROPERTIES_SLOT" val="B"/>
  <p:tag name="RUNTIME_ID" val="12f21ae7-2711-4538-b1de-d99e0d278dcb"/>
</p:tagLst>
</file>

<file path=ppt/tags/tag5.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 val="3965"/>
  <p:tag name="MIO_EKGUID" val="66631306-e1f1-4de6-86ed-78ed67ba2555"/>
  <p:tag name="MIO_GUID" val="058c280e-5383-4d49-941a-32b5000483ea"/>
  <p:tag name="MIO_LASTDOWNLOADED" val="06.09.2022 11:56:12.398"/>
  <p:tag name="MIO_LASTEDITORNAME" val="Stephan Kuhnert"/>
  <p:tag name="MIO_OBJECTNAME" val="1 Footnote"/>
  <p:tag name="MIO_SHAPETYPES_TEXTELEMENT" val="MIO_FOOTNOTE"/>
  <p:tag name="MIO_SKIP_CDCHECK" val="True"/>
  <p:tag name="MIO_UPDATE" val="True"/>
  <p:tag name="MIO_VERSION" val="06.05.2020 20:08:27"/>
</p:tagLst>
</file>

<file path=ppt/tags/tag50.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MAAAAAAAAAAwAAAAMAAAAA/////wUA/gsAAAAAAAAAAAAAIAD///////////////8AAAD///////////////8DAAAABAD///////8DAAAABAD///////8DAAAABAD///////////////////////////////////////////////////////////////////////////////////////////////////////////////////////////////////////////////////////////////////////////////////////////////////////////////////////////////////////////////////////////////////////////////////////////////////////////////////////////////////////////////////////////////////////////////////////////////////////////////////////////////////////////////////////////////////////////////8BACAA////////////////AAAO////////AwAAAAMA////////////////////////////////////////////////////////////////////////////////////////////////////////////////////////////////////////////////////////////////////////////////////////////////////////////////////////////////////////////////////////////////////////////////////////////////////////////////////////////////////////////////////////////////////////////////////////////////////////////////////////////////////////////////////////////////////////////////////////////////////////////////////////AgABAP///////wUAAAACABAACwReAxY6MsVIiaHWzbAHa6sEAAAAAAADAAAABAADAAAAAwADAAEA////////BQAAAAMAEAALmu/Wex5310CuXBzHGkARMAQAAAABAAMAAAACAAMAAAABAAQAAwD///////8FAAAABAAQAAsa12YPekSxSb2afqpiZev8BAAAAAIAAwAAAAA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F4DFjoyxUiJodbNsAdrqwREYXRhAAUAAAAAAk5hbWUADQAAAExpbmtEYXRhTGlzdAAQVmVyc2lvbgABAAAACUxhc3RXcml0ZQCZXtK9kQEAAAABAP////9hAGEAAAAFX2lkABAAAAAEmu/Wex5310CuXBzHGkARMAREYXRhAAUAAAAAAk5hbWUADQAAAExpbmtEYXRhTGlzdAAQVmVyc2lvbgAAAAAACUxhc3RXcml0ZQCYXtK9kQEAAAACAP////9wAHAAAAAFX2lkABAAAAAEGtdmD3pEsUm9mn6qYmXr/ANEYXRhABYAAAACUGVyc29uYWxJZAABAAAAAAACTmFtZQALAAAAUGVyc29uYWxJZAAQVmVyc2lvbgAAAAAACUxhc3RXcml0ZQC1XtK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3663523309"/>
  <p:tag name="EMPOWERCHARTSPROPERTIES_SLOT" val="B"/>
  <p:tag name="RUNTIME_ID" val="382d448e-43d4-4c40-89e8-c1b217648c83"/>
</p:tagLst>
</file>

<file path=ppt/tags/tag51.xml><?xml version="1.0" encoding="utf-8"?>
<p:tagLst xmlns:a="http://schemas.openxmlformats.org/drawingml/2006/main" xmlns:r="http://schemas.openxmlformats.org/officeDocument/2006/relationships" xmlns:p="http://schemas.openxmlformats.org/presentationml/2006/main">
  <p:tag name="MIO_CONTENTTAG" val="rdDgNe4BtUqCBYw9YNEmxQ=="/>
  <p:tag name="MIO_DBID" val="b8fcb12d-af03-49eb-9f79-bb019be99e1e"/>
  <p:tag name="MIO_EKGUID" val="b531e32c-ec95-4f76-aa25-9c6005ba2dbd"/>
  <p:tag name="MIO_GUID" val="cce84817-64cd-43c1-85cc-ee215672ee77"/>
  <p:tag name="MIO_LASTDOWNLOADED" val="06.09.2024 08:43:15"/>
  <p:tag name="MIO_LASTEDITORNAME" val="Georgina DEMO"/>
  <p:tag name="MIO_OBJECTNAME" val="empower® charts videos"/>
  <p:tag name="MIO_UPDATE" val="True"/>
  <p:tag name="MIO_VERSION" val="05.09.2024 19:30:07"/>
</p:tagLst>
</file>

<file path=ppt/tags/tag52.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gsAAAAAAAAAAAAAIAD///////////////8AAAD///////////////8DAAAAAgD///////8DAAAAAgD///////////////////////////////////////////////////////////////////////////////////////////////////////////////////////////////////////////////////////////////////////////////////////////////////////////////////////////////////////////////////////////////////////////////////////////////////////////////////////////////////////////////////////////////////////////////////////////////////////////////////////////////////////////////////////////////////////////////////////////////8BACAA////////////////AAAO////////AwAAAAQA////////////////////////////////////////////////////////////////////////////////////////////////////////////////////////////////////////////////////////////////////////////////////////////////////////////////////////////////////////////////////////////////////////////////////////////////////////////////////////////////////////////////////////////////////////////////////////////////////////////////////////////////////////////////////////////////////////////////////////////////////////////////////////AgACAP///////wUAAAACABAACzQBFDFRyw5ItrTPukEyw8AEAAAAAAADAAAAAAADAAAAAwADAAAAAAADAAAAAwADAAIA////////BQAAAAMAEAALnrttbExeikWfezQpx33IZgQAAAABAAMAAAACAAMAAAAEAAMAAAACAP///////wQAAQD///////8FAAAABAAQAAtwX0CqrAKBQIszOhOQ78Sd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AEUMVHLDki2tM+6QTLDwAREYXRhAAUAAAAAAk5hbWUADQAAAExpbmtEYXRhTGlzdAAQVmVyc2lvbgAAAAAACUxhc3RXcml0ZQB7+729kQEAAAABAP////9hAGEAAAAFX2lkABAAAAAEnrttbExeikWfezQpx33IZgREYXRhAAUAAAAAAk5hbWUADQAAAExpbmtEYXRhTGlzdAAQVmVyc2lvbgABAAAACUxhc3RXcml0ZQB9+729kQEAAAACAP////9wAHAAAAAFX2lkABAAAAAEcF9AqqwCgUCLMzoTkO/EnQNEYXRhABYAAAACUGVyc29uYWxJZAABAAAAAAACTmFtZQALAAAAUGVyc29uYWxJZAAQVmVyc2lvbgAAAAAACUxhc3RXcml0ZQCU+72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EAP///////wUAAAAEAP///////////////////////////////////////////////////////////////////////////////////////////////////////////////////////////////////////////////////////////////////////////////////////////////////////////////////////////////////////////////////////////////////////////////////////////////////////////////////////////////////////////////////////////////////////////////////////////////////////////////////////////////////////////////////////////////wEAIAH///////////////8AAA7///////8FAAAABAD///////////////////////////////////////////////////////////////////////////////////////////////////////////////////////////////////////////////////////////////////////////////////////////////////////////////////////////////////////////////////////////////////////////////////////////////////////////////////////////////////////////////////////////////////////////////////////////////////////////////////////////////////////////////////////////////////////////////////////////////////////////////////////8CAAIBAwAAAAIA////////DgAGTGlua0RhdGFMaXN0XzAEAAAAAAAFAAAAAAAFAAAAAwAFAAAAAAAFAAAAAwADAAIBAwAAAAMA////////DgAGTGlua0RhdGFMaXN0XzEEAAAAAQAFAAAAAgAFAAAABAAFAAAAAgAFAAAABAAEAAQBAwAAAAQA////////DAAGUGVyc29uYWxJZF8wBAAAAAIABQAAAAMABQAAAAE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20302483581"/>
  <p:tag name="EMPOWERCHARTSPROPERTIES_SLOT" val="B"/>
  <p:tag name="RUNTIME_ID" val="5938aefc-208f-4c3d-97fd-ee228b64fa8b"/>
</p:tagLst>
</file>

<file path=ppt/tags/tag53.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QA////////////////////////////////////////////////////////////////////////////////////////////////////////////////////////////////////////////////////////////////////////////////////////////////////////////////////////////////////////////////////////////////////////////////////////////////////////////////////////////////////////////////////////////////////////////////////////////////////////////////////////////////////////////////////////////////////////////////////////////////////////////////////////AgABAP///////wUAAAACABAAC+A+7EFprFhBoLOF/jbmswsEAAAAAAADAAAAAAADAAAAAwADAAEA////////BQAAAAMAEAALzlMSV4lVUU2X/BB3+gD0DwQAAAABAAMAAAACAAMAAAAEAAQAAQD///////8FAAAABAAQAAvr32jo6eXKR5z6wemSAtbB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4D7sQWmsWEGgs4X+NuazCwREYXRhAAUAAAAAAk5hbWUADQAAAExpbmtEYXRhTGlzdAAQVmVyc2lvbgABAAAACUxhc3RXcml0ZQDH+729kQEAAAABAP////9hAGEAAAAFX2lkABAAAAAEzlMSV4lVUU2X/BB3+gD0DwREYXRhAAUAAAAAAk5hbWUADQAAAExpbmtEYXRhTGlzdAAQVmVyc2lvbgAAAAAACUxhc3RXcml0ZQDF+729kQEAAAACAP////9wAHAAAAAFX2lkABAAAAAE699o6Onlykec+sHpkgLWwQNEYXRhABYAAAACUGVyc29uYWxJZAABAAAAAAACTmFtZQALAAAAUGVyc29uYWxJZAAQVmVyc2lvbgAAAAAACUxhc3RXcml0ZQDo+72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20303361840"/>
  <p:tag name="EMPOWERCHARTSPROPERTIES_SLOT" val="B"/>
  <p:tag name="RUNTIME_ID" val="aba7d202-af7b-4257-b7a9-ab76fea9cc2f"/>
</p:tagLst>
</file>

<file path=ppt/tags/tag54.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AgD///////8DAAAAAgD///////8DAAAAAgD///////8DAAAAAgD///////////////////////////////////////////////////////////////////////////////////////////////////////////////////////////////////////////////////////////////////////////////////////////////////////////////////////////////////////////////////////////////////////////////////////////////////////////////////////////////////////////////////////////////////////////////////////////////////////////////////////////////////////////////////////////////8BACAA////////////////AAAO////////AwAAAAMA////////////////////////////////////////////////////////////////////////////////////////////////////////////////////////////////////////////////////////////////////////////////////////////////////////////////////////////////////////////////////////////////////////////////////////////////////////////////////////////////////////////////////////////////////////////////////////////////////////////////////////////////////////////////////////////////////////////////////////////////////////////////////////AgAEAP///////wUAAAACABAAC6wGgim1sypIlXx5LlVSBgoEAAAAAAADAAAAAAADAAAABAADAAAAAAADAAAABAADAAAAAAADAAAABAADAAAAAAADAAAABAADAAEA////////BQAAAAMAEAALiUF8+TP6pEqtlb6850VOWAQAAAABAAMAAAAEAAMAAAABAAQABAD///////8FAAAABAAQAAvydY28EjFaRZhyscK9W7uYBAAAAAIAAwAAAAIAAwAAAAMAAwAAAAIA////////AwAAAAI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AaCKbWzKkiVfHkuVVIGCgREYXRhAAUAAAAAAk5hbWUADQAAAExpbmtEYXRhTGlzdAAQVmVyc2lvbgAAAAAACUxhc3RXcml0ZQA7/L29kQEAAAABAP////9hAGEAAAAFX2lkABAAAAAEiUF8+TP6pEqtlb6850VOWAREYXRhAAUAAAAAAk5hbWUADQAAAExpbmtEYXRhTGlzdAAQVmVyc2lvbgABAAAACUxhc3RXcml0ZQA9/L29kQEAAAACAP////9wAHAAAAAFX2lkABAAAAAE8nWNvBIxWkWYcrHCvVu7mANEYXRhABYAAAACUGVyc29uYWxJZAABAAAAAAACTmFtZQALAAAAUGVyc29uYWxJZAAQVmVyc2lvbgAAAAAACUxhc3RXcml0ZQBV/L2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CAP///////wUAAAACAP///////////////////////////////////////////////////////////////////////////////////////////////////////////////////////////////////////////////////////////////////////////////////////////////////////////////////////////////////////////////////////////////////////////////////////////////////////////////////////////////////////////////////////////////////////////////////////////////////////////////////////////////////////////////////////////////wEAIAH///////////////8AAA7///////8FAAAABAD///////////////////////////////////////////////////////////////////////////////////////////////////////////////////////////////////////////////////////////////////////////////////////////////////////////////////////////////////////////////////////////////////////////////////////////////////////////////////////////////////////////////////////////////////////////////////////////////////////////////////////////////////////////////////////////////////////////////////////////////////////////////////////8CAAQBAwAAAAIA////////DgAGTGlua0RhdGFMaXN0XzAEAAAAAAAFAAAAAAAFAAAAAwAFAAAAAAAFAAAABAAFAAAAAAAFAAAABAAFAAAAAAD///////8DAAEBAwAAAAMA////////DgAGTGlua0RhdGFMaXN0XzEEAAAAAQAFAAAAAgAFAAAABAAEAAMBAwAAAAQA////////DAAGUGVyc29uYWxJZF8wBAAAAAIABQAAAAM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20304416223"/>
  <p:tag name="EMPOWERCHARTSPROPERTIES_SLOT" val="B"/>
  <p:tag name="RUNTIME_ID" val="0f484dd9-636e-4d99-9b91-320cae1d60f1"/>
</p:tagLst>
</file>

<file path=ppt/tags/tag55.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wD///////////////////////////////////////////////////////////////////////////////////////////////////////////////////////////////////////////////////////////////////////////////////////////////////////////////////////////////////////////////////////////////////////////////////////////////////////////////////////////////////////////////////////////////////////////////////////////////////////////////////////////////////////////////////////////////////////////////////////////////8BACAA////////////////AAAO////////AwAAAAMA////////////////////////////////////////////////////////////////////////////////////////////////////////////////////////////////////////////////////////////////////////////////////////////////////////////////////////////////////////////////////////////////////////////////////////////////////////////////////////////////////////////////////////////////////////////////////////////////////////////////////////////////////////////////////////////////////////////////////////////////////////////////////////AgABAP///////wUAAAACABAACz9DrtiaTXRMhwHNIz13WzsEAAAAAAADAAAABAADAAAAAwADAAIA////////BQAAAAMAEAALlC8d8PQXv0yM0ge9wE6LnwQAAAABAAMAAAACAAMAAAABAAMAAAAAAP///////wQAAQD///////8FAAAABAAQAAs6sCSUz91mR4pRVdwOMKL7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0Ou2JpNdEyHAc0jPXdbOwREYXRhAAUAAAAAAk5hbWUADQAAAExpbmtEYXRhTGlzdAAQVmVyc2lvbgABAAAACUxhc3RXcml0ZQCD/L29kQEAAAABAP////9hAGEAAAAFX2lkABAAAAAElC8d8PQXv0yM0ge9wE6LnwREYXRhAAUAAAAAAk5hbWUADQAAAExpbmtEYXRhTGlzdAAQVmVyc2lvbgAAAAAACUxhc3RXcml0ZQCC/L29kQEAAAACAP////9wAHAAAAAFX2lkABAAAAAEOrAklM/dZkeKUVXcDjCi+wNEYXRhABYAAAACUGVyc29uYWxJZAABAAAAAAACTmFtZQALAAAAUGVyc29uYWxJZAAQVmVyc2lvbgAAAAAACUxhc3RXcml0ZQCY/L2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EBAwAAAAIA////////DgAGTGlua0RhdGFMaXN0XzEEAAAAAAAFAAAAAwAFAAAABAADAAIBAwAAAAMA////////DgAGTGlua0RhdGFMaXN0XzAEAAAAAQAFAAAAAAAFAAAAAgAFAAAAAAAFAAAABAA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20305102496"/>
  <p:tag name="EMPOWERCHARTSPROPERTIES_SLOT" val="B"/>
  <p:tag name="RUNTIME_ID" val="3170fcc1-8c11-40e9-8a94-73ec58879e6b"/>
</p:tagLst>
</file>

<file path=ppt/tags/tag56.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yeDGTS2DupCnNyu0NOk6JIEAAAAAAADAAAAAAADAAAABAADAAAAAAD///////8DAAEA////////BQAAAAMAEAALPgzW8mrfxkyYpF9rlZS1qQQAAAABAAMAAAAEAAMAAAABAAQAAQD///////8FAAAABAAQAAuBPmvyOEG+QJZsfBCz2RL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4MZNLYO6kKc3K7Q06TokgREYXRhAAUAAAAAAk5hbWUADQAAAExpbmtEYXRhTGlzdAAQVmVyc2lvbgABAAAACUxhc3RXcml0ZQDW/L29kQEAAAABAP////9hAGEAAAAFX2lkABAAAAAEPgzW8mrfxkyYpF9rlZS1qQREYXRhAAUAAAAAAk5hbWUADQAAAExpbmtEYXRhTGlzdAAQVmVyc2lvbgAAAAAACUxhc3RXcml0ZQDU/L29kQEAAAACAP////9wAHAAAAAFX2lkABAAAAAEgT5r8jhBvkCWbHwQs9kSwwNEYXRhABYAAAACUGVyc29uYWxJZAABAAAAAAACTmFtZQALAAAAUGVyc29uYWxJZAAQVmVyc2lvbgAAAAAACUxhc3RXcml0ZQDr/L2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CAP///////////////////////////////////////////////////////////////////////////////////////////////////////////////////////////////////////////////////////////////////////////////////////////////////////////////////////////////////////////////////////////////////////////////////////////////////////////////////////////////////////////////////////////////////////////////////////////////////////////////////////////////////////////////////////////////////////////////////////////////wEAIAH///////////////8AAA7///////8FAAAABAD///////////////////////////////////////////////////////////////////////////////////////////////////////////////////////////////////////////////////////////////////////////////////////////////////////////////////////////////////////////////////////////////////////////////////////////////////////////////////////////////////////////////////////////////////////////////////////////////////////////////////////////////////////////////////////////////////////////////////////////////////////////////////////8CAAIBAwAAAAIA////////DgAGTGlua0RhdGFMaXN0XzEEAAAAAAAFAAAAAwAFAAAABAA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20305902950"/>
  <p:tag name="EMPOWERCHARTSPROPERTIES_SLOT" val="B"/>
  <p:tag name="RUNTIME_ID" val="55bd1ef2-96e3-471d-9656-0baf16fdde53"/>
</p:tagLst>
</file>

<file path=ppt/tags/tag57.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2/zfmwxNWVLnVz1x8tFo+wEAAAAAAADAAAABAADAAAAAwADAAEA////////BQAAAAMAEAAL6nnT5RLurUi5tx+YELCG3AQAAAABAAMAAAACAAMAAAABAAQAAQD///////8FAAAABAAQAAvoBjRToB9kSYjhEgpiuwWG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N+bDE1ZUudXPXHy0Wj7AREYXRhAAUAAAAAAk5hbWUADQAAAExpbmtEYXRhTGlzdAAQVmVyc2lvbgAAAAAACUxhc3RXcml0ZQAR/b29kQEAAAABAP////9hAGEAAAAFX2lkABAAAAAE6nnT5RLurUi5tx+YELCG3AREYXRhAAUAAAAAAk5hbWUADQAAAExpbmtEYXRhTGlzdAAQVmVyc2lvbgABAAAACUxhc3RXcml0ZQAR/b29kQEAAAACAP////9wAHAAAAAFX2lkABAAAAAE6AY0U6AfZEmI4RIKYrsFhgNEYXRhABYAAAACUGVyc29uYWxJZAABAAAAAAACTmFtZQALAAAAUGVyc29uYWxJZAAQVmVyc2lvbgAAAAAACUxhc3RXcml0ZQBI/b2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20306899043"/>
  <p:tag name="EMPOWERCHARTSPROPERTIES_SLOT" val="B"/>
  <p:tag name="RUNTIME_ID" val="3f70c38a-b727-4ccd-bca6-13a3eb70f033"/>
</p:tagLst>
</file>

<file path=ppt/tags/tag58.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gD///////////////////////////////////////////////////////////////////////////////////////////////////////////////////////////////////////////////////////////////////////////////////////////////////////////////////////////////////////////////////////////////////////////////////////////////////////////////////////////////////////////////////////////////////////////////////////////////////////////////////////////////////////////////////////////////////////////////8BACAA////////////////AAAO////////AwAAAAMA////////////////////////////////////////////////////////////////////////////////////////////////////////////////////////////////////////////////////////////////////////////////////////////////////////////////////////////////////////////////////////////////////////////////////////////////////////////////////////////////////////////////////////////////////////////////////////////////////////////////////////////////////////////////////////////////////////////////////////////////////////////////////////AgADAP///////wUAAAACABAAC7lPizwfJ9JMkVXXiBcvkUIEAAAAAAADAAAAAAADAAAABAADAAAAAAADAAAAAwADAAAAAAD///////8DAAIA////////BQAAAAMAEAALuHZTchaZg0abcC5/pI15kAQAAAABAAMAAAAEAAMAAAABAAMAAAACAP///////wQAAQD///////8FAAAABAAQAAuDmKNj6ZaSTqDF//XiEtVN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U+LPB8n0kyRVdeIFy+RQgREYXRhAAUAAAAAAk5hbWUADQAAAExpbmtEYXRhTGlzdAAQVmVyc2lvbgAAAAAACUxhc3RXcml0ZQB1/b29kQEAAAABAP////9hAGEAAAAFX2lkABAAAAAEuHZTchaZg0abcC5/pI15kAREYXRhAAUAAAAAAk5hbWUADQAAAExpbmtEYXRhTGlzdAAQVmVyc2lvbgABAAAACUxhc3RXcml0ZQB+/b29kQEAAAACAP////9wAHAAAAAFX2lkABAAAAAEg5ijY+mWkk6gxf/14hLVTQNEYXRhABYAAAACUGVyc29uYWxJZAABAAAAAAACTmFtZQALAAAAUGVyc29uYWxJZAAQVmVyc2lvbgAAAAAACUxhc3RXcml0ZQCV/b2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CAP///////////////////////////////////////////////////////////////////////////////////////////////////////////////////////////////////////////////////////////////////////////////////////////////////////////////////////////////////////////////////////////////////////////////////////////////////////////////////////////////////////////////////////////////////////////////////////////////////////////////////////////////////////////////////////////////////////////////wEAIAH///////////////8AAA7///////8FAAAABAD///////////////////////////////////////////////////////////////////////////////////////////////////////////////////////////////////////////////////////////////////////////////////////////////////////////////////////////////////////////////////////////////////////////////////////////////////////////////////////////////////////////////////////////////////////////////////////////////////////////////////////////////////////////////////////////////////////////////////////////////////////////////////////8CAAMBAwAAAAIA////////DgAGTGlua0RhdGFMaXN0XzAEAAAAAAAFAAAAAAAFAAAAAwAFAAAAAAAFAAAAAwAFAAAAAAD///////8DAAIBAwAAAAMA////////DgAGTGlua0RhdGFMaXN0XzEEAAAAAQAFAAAAAgAFAAAABAAFAAAAAg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20307605123"/>
  <p:tag name="EMPOWERCHARTSPROPERTIES_SLOT" val="B"/>
  <p:tag name="RUNTIME_ID" val="9abe0284-88b3-4635-82ee-753f6ee1f2b9"/>
</p:tagLst>
</file>

<file path=ppt/tags/tag59.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AgD///////////////////////////////////////////////////////////////////////////////////////////////////////////////////////////////////////////////////////////////////////////////////////////////////////////////////////////////////////////////////////////////////////////////////////////////////////////////////////////////////////////////////////////////////////////////////////////////////////////////////////////////////////////////////////////////////////////////////////////////8BACAA////////////////AAAO////////AwAAAAMA////////////////////////////////////////////////////////////////////////////////////////////////////////////////////////////////////////////////////////////////////////////////////////////////////////////////////////////////////////////////////////////////////////////////////////////////////////////////////////////////////////////////////////////////////////////////////////////////////////////////////////////////////////////////////////////////////////////////////////////////////////////////////////AgACAP///////wUAAAACABAAC+5M5NGV5YdJieH9EQ9fVaAEAAAAAAADAAAABAADAAAAAwADAAAAAAADAAAAAwADAAIA////////BQAAAAMAEAALtFfG5QllfkOhJ5jnmDlkpAQAAAABAAMAAAACAAMAAAABAAMAAAACAP///////wQAAQD///////8FAAAABAAQAAsndWe6oVIYQ4GyK4NjezDK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7kzk0ZXlh0mJ4f0RD19VoAREYXRhAAUAAAAAAk5hbWUADQAAAExpbmtEYXRhTGlzdAAQVmVyc2lvbgAAAAAACUxhc3RXcml0ZQC7/b29kQEAAAABAP////9hAGEAAAAFX2lkABAAAAAEtFfG5QllfkOhJ5jnmDlkpAREYXRhAAUAAAAAAk5hbWUADQAAAExpbmtEYXRhTGlzdAAQVmVyc2lvbgABAAAACUxhc3RXcml0ZQC7/b29kQEAAAACAP////9wAHAAAAAFX2lkABAAAAAEJ3VnuqFSGEOBsiuDY3swygNEYXRhABYAAAACUGVyc29uYWxJZAABAAAAAAACTmFtZQALAAAAUGVyc29uYWxJZAAQVmVyc2lvbgAAAAAACUxhc3RXcml0ZQDU/b2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AwADAAIBAwAAAAMA////////DgAGTGlua0RhdGFMaXN0XzEEAAAAAQAFAAAAAgAFAAAABAA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20308342402"/>
  <p:tag name="EMPOWERCHARTSPROPERTIES_SLOT" val="B"/>
  <p:tag name="RUNTIME_ID" val="8c64fab1-715f-4e1b-9f73-c5427b41e627"/>
</p:tagLst>
</file>

<file path=ppt/tags/tag6.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BAD///////////////////////////////////////////////////////////////////////////////////////////////////////////////////////////////////////////////////////////////////////////////////////////////////////////////////////////////////////////////////////////////////////////////////////////////////////////////////////////////////////////////////////////////////////////////////////////////////////////////////////////////////////////////////////////////////////////////8BACAA////////////////AAAO////////AwAAAAMA////////////////////////////////////////////////////////////////////////////////////////////////////////////////////////////////////////////////////////////////////////////////////////////////////////////////////////////////////////////////////////////////////////////////////////////////////////////////////////////////////////////////////////////////////////////////////////////////////////////////////////////////////////////////////////////////////////////////////////////////////////////////////////AgACAP///////wUAAAACABAAC8n4YVTvKuVNmPtrwTtYIDUEAAAAAAADAAAAAAADAAAABAADAAAAAAADAAAABAADAAEA////////BQAAAAMAEAALkJk05d+pqUeLf42WK5s4YAQAAAABAAMAAAAEAAMAAAABAAQAAwD///////8FAAAABAAQAAtycYSRm0uuR4Xq3zyYuIdEBAAAAAIAAwAAAAIAAwAAAAM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fhhVO8q5U2Y+2vBO1ggNQREYXRhAAUAAAAAAk5hbWUADQAAAExpbmtEYXRhTGlzdAAQVmVyc2lvbgABAAAACUxhc3RXcml0ZQCqwYWAjwEAAAABAP////9hAGEAAAAFX2lkABAAAAAEkJk05d+pqUeLf42WK5s4YAREYXRhAAUAAAAAAk5hbWUADQAAAExpbmtEYXRhTGlzdAAQVmVyc2lvbgAAAAAACUxhc3RXcml0ZQCbwYWAjwEAAAACAP////9wAHAAAAAFX2lkABAAAAAEcnGEkZtLrkeF6t88mLiHRANEYXRhABYAAAACUGVyc29uYWxJZAABAAAAAAACTmFtZQALAAAAUGVyc29uYWxJZAAQVmVyc2lvbgAAAAAACUxhc3RXcml0ZQDrwYWA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514450007044896"/>
  <p:tag name="EMPOWERCHARTSPROPERTIES_SLOT" val="B"/>
  <p:tag name="RUNTIME_ID" val="cae05ed3-ef2e-4105-89ac-fd5b5a6b0034"/>
</p:tagLst>
</file>

<file path=ppt/tags/tag60.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wUAFgwAAAAAAAAAAAAAIAD///////////////8AAAD///////////////8DAAAAAgD///////////////////////////////////////////////////////////////////////////////////////////////////////////////////////////////////////////////////////////////////////////////////////////////////////////////////////////////////////////////////////////////////////////////////////////////////////////////////////////////////////////////////////////////////////////////////////////////////////////////////////////////////////////////////////////////////////////////////////////////////////////////8BACAA////////////////AAAO////////AwAAAAMA////////////////////////////////////////////////////////////////////////////////////////////////////////////////////////////////////////////////////////////////////////////////////////////////////////////////////////////////////////////////////////////////////////////////////////////////////////////////////////////////////////////////////////////////////////////////////////////////////////////////////////////////////////////////////////////////////////////////////////////////////////////////////////AgABAP///////wUAAAACABAACxwPUhV4EgxGjlFjxXKr2QsEAAAAAAADAAAAAAADAAAABAADAAEA////////BQAAAAMAEAALZrzyu1cslUee0BYOJhQ4KQQAAAABAAMAAAAEAAMAAAABAAQAAQD///////8FAAAABAAQAAsJwTIyhKv+SayjPZrbq32f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A9SFXgSDEaOUWPFcqvZCwREYXRhAAUAAAAAAk5hbWUADQAAAExpbmtEYXRhTGlzdAAQVmVyc2lvbgABAAAACUxhc3RXcml0ZQAN/r29kQEAAAABAP////9hAGEAAAAFX2lkABAAAAAEZrzyu1cslUee0BYOJhQ4KQREYXRhAAUAAAAAAk5hbWUADQAAAExpbmtEYXRhTGlzdAAQVmVyc2lvbgAAAAAACUxhc3RXcml0ZQAL/r29kQEAAAACAP////9wAHAAAAAFX2lkABAAAAAECcEyMoSr/kmsoz2a26t9nwNEYXRhABYAAAACUGVyc29uYWxJZAABAAAAAAACTmFtZQALAAAAUGVyc29uYWxJZAAQVmVyc2lvbgAAAAAACUxhc3RXcml0ZQAn/r2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EAP///////wUAAAAEAP///////////////////////////////////////////////////////////////////////////////////////////////////////////////////////////////////////////////////////////////////////////////////////////////////////////////////////////////////////////////////////////////////////////////////////////////////////////////////////////////////////////////////////////////////////////////////////////////////////////////////////////////////////////////////////////////////////////////wEAIAH///////////////8AAA7///////8FAAAABAD///////////////////////////////////////////////////////////////////////////////////////////////////////////////////////////////////////////////////////////////////////////////////////////////////////////////////////////////////////////////////////////////////////////////////////////////////////////////////////////////////////////////////////////////////////////////////////////////////////////////////////////////////////////////////////////////////////////////////////////////////////////////////////8CAAEBAwAAAAIA////////DgAGTGlua0RhdGFMaXN0XzEEAAAAAAAFAAAAAwAFAAAABAADAAEBAwAAAAMA////////DgAGTGlua0RhdGFMaXN0XzAEAAAAAQAFAAAAAAAFAAAAAgAEAAMBAwAAAAQA////////DAAGUGVyc29uYWxJZF8wBAAAAAIABQAAAAI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20309094482"/>
  <p:tag name="EMPOWERCHARTSPROPERTIES_SLOT" val="B"/>
  <p:tag name="RUNTIME_ID" val="47ee85df-3d5f-4aaf-a407-f074434bff92"/>
</p:tagLst>
</file>

<file path=ppt/tags/tag61.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MA////////////////////////////////////////////////////////////////////////////////////////////////////////////////////////////////////////////////////////////////////////////////////////////////////////////////////////////////////////////////////////////////////////////////////////////////////////////////////////////////////////////////////////////////////////////////////////////////////////////////////////////////////////////////////////////////////////////////////////////////////////////////////////AgABAP///////wUAAAACABAAC+/MxhmkBIhDnfGo/7Aijw4EAAAAAAADAAAAAAADAAAABAADAAEA////////BQAAAAMAEAAL2wStYETnokq39txuL72QwwQAAAABAAMAAAAEAAMAAAABAAQAAQD///////8FAAAABAAQAAtmydBA2fI7R4+EDGpxRi5H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78zGGaQEiEOd8aj/sCKPDgREYXRhAAUAAAAAAk5hbWUADQAAAExpbmtEYXRhTGlzdAAQVmVyc2lvbgABAAAACUxhc3RXcml0ZQCtgr29kQEAAAABAP////9hAGEAAAAFX2lkABAAAAAE2wStYETnokq39txuL72QwwREYXRhAAUAAAAAAk5hbWUADQAAAExpbmtEYXRhTGlzdAAQVmVyc2lvbgAAAAAACUxhc3RXcml0ZQCjgr29kQEAAAACAP////9wAHAAAAAFX2lkABAAAAAEZsnQQNnyO0ePhAxqcUYuRwNEYXRhABYAAAACUGVyc29uYWxJZAABAAAAAAACTmFtZQALAAAAUGVyc29uYWxJZAAQVmVyc2lvbgAAAAAACUxhc3RXcml0ZQDngr2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19993614381"/>
  <p:tag name="EMPOWERCHARTSPROPERTIES_SLOT" val="B"/>
  <p:tag name="RUNTIME_ID" val="9420f3ea-0179-4c44-a98a-2b23392282c4"/>
</p:tagLst>
</file>

<file path=ppt/tags/tag62.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XqWyt2P8tGppaVxBpZ/L8EAAAAAAADAAAABAADAAAAAwADAAEA////////BQAAAAMAEAALiNBxhLVbiUS/WBgbUQHx1AQAAAABAAMAAAACAAMAAAABAAQAAQD///////8FAAAABAAQAAuMQ3Uk+2MpTLRl8cym3+Eq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5epbK3Y/y0amlpXEGln8vwREYXRhAAUAAAAAAk5hbWUADQAAAExpbmtEYXRhTGlzdAAQVmVyc2lvbgAAAAAACUxhc3RXcml0ZQAmg729kQEAAAABAP////9hAGEAAAAFX2lkABAAAAAEiNBxhLVbiUS/WBgbUQHx1AREYXRhAAUAAAAAAk5hbWUADQAAAExpbmtEYXRhTGlzdAAQVmVyc2lvbgABAAAACUxhc3RXcml0ZQAmg729kQEAAAACAP////9wAHAAAAAFX2lkABAAAAAEjEN1JPtjKUy0ZfHMpt/hKgNEYXRhABYAAAACUGVyc29uYWxJZAABAAAAAAACTmFtZQALAAAAUGVyc29uYWxJZAAQVmVyc2lvbgAAAAAACUxhc3RXcml0ZQA+g72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19994450702"/>
  <p:tag name="EMPOWERCHARTSPROPERTIES_SLOT" val="B"/>
  <p:tag name="RUNTIME_ID" val="3a0ec9ce-0527-4660-851d-8dee7b9e6783"/>
</p:tagLst>
</file>

<file path=ppt/tags/tag63.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wgsAAAAAAAAAAAAAIAD///////////////8AAAD///////////////8DAAAAAgD///////8DAAAAAgD///////8DAAAAAgD///////8DAAAAAgD///////8DAAAAAgD///////////////////////////////////////////////////////////////////////////////////////////////////////////////////////////////////////////////////////////////////////////////////////////////////////////////////////////////////////////////////////////////////////////////////////////////////////////////////////////////////////////////////////////////////////////////////////////////////////////////////////////////////////////////8BACAA////////////////AAAO////////AwAAAAQA////////////////////////////////////////////////////////////////////////////////////////////////////////////////////////////////////////////////////////////////////////////////////////////////////////////////////////////////////////////////////////////////////////////////////////////////////////////////////////////////////////////////////////////////////////////////////////////////////////////////////////////////////////////////////////////////////////////////////////////////////////////////////////AgAFAP///////wUAAAACABAAC6d9HVTfBeZMg0qZCWLqKbUEAAAAAAADAAAAAAADAAAAAwADAAAAAAADAAAAAwADAAAAAAADAAAABAADAAAAAAD///////8DAAAAAAD///////8DAAIA////////BQAAAAMAEAALH/5NwqSlL0CyE25X5wm8yAQAAAABAAMAAAACAAMAAAAEAAMAAAACAAMAAAAEAAQAAwD///////8FAAAABAAQAAuWYNXOsvhzTL5XF4RL0wISBAAAAAIAAwAAAAMAAwAAAAE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30dVN8F5kyDSpkJYuoptQREYXRhAAUAAAAAAk5hbWUADQAAAExpbmtEYXRhTGlzdAAQVmVyc2lvbgABAAAACUxhc3RXcml0ZQBug729kQEAAAABAP////9hAGEAAAAFX2lkABAAAAAEH/5NwqSlL0CyE25X5wm8yAREYXRhAAUAAAAAAk5hbWUADQAAAExpbmtEYXRhTGlzdAAQVmVyc2lvbgAAAAAACUxhc3RXcml0ZQBqg729kQEAAAACAP////9wAHAAAAAFX2lkABAAAAAElmDVzrL4c0y+VxeES9MCEgNEYXRhABYAAAACUGVyc29uYWxJZAABAAAAAAACTmFtZQALAAAAUGVyc29uYWxJZAAQVmVyc2lvbgAAAAAACUxhc3RXcml0ZQCGg72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DAP///////wUAAAADAP///////wUAAAACAP///////wUAAAACAP///////wUAAAACAP///////////////////////////////////////////////////////////////////////////////////////////////////////////////////////////////////////////////////////////////////////////////////////////////////////////////////////////////////////////////////////////////////////////////////////////////////////////////////////////////////////////////////////////////////////////////////////////////////////////////////////////////////////////////wEAIAH///////////////8AAA7///////8FAAAABAD///////////////////////////////////////////////////////////////////////////////////////////////////////////////////////////////////////////////////////////////////////////////////////////////////////////////////////////////////////////////////////////////////////////////////////////////////////////////////////////////////////////////////////////////////////////////////////////////////////////////////////////////////////////////////////////////////////////////////////////////////////////////////////8CAAUBAwAAAAIA////////DgAGTGlua0RhdGFMaXN0XzEEAAAAAAAFAAAAAwAFAAAABAAFAAAAAwAFAAAABAAFAAAAAAD///////8FAAAAAAD///////8FAAAAAAD///////8DAAIBAwAAAAMA////////DgAGTGlua0RhdGFMaXN0XzAEAAAAAQAFAAAAAAAFAAAAAg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19995157442"/>
  <p:tag name="EMPOWERCHARTSPROPERTIES_SLOT" val="B"/>
  <p:tag name="RUNTIME_ID" val="ab520b9b-79fd-4de3-bb40-3f9808d09046"/>
</p:tagLst>
</file>

<file path=ppt/tags/tag64.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wUA/gsAAAAAAAAAAAAAIAD///////////////8AAAD///////////////8DAAAAAgD///////8DAAAABAD///////8DAAAABAD///////////////////////////////////////////////////////////////////////////////////////////////////////////////////////////////////////////////////////////////////////////////////////////////////////////////////////////////////////////////////////////////////////////////////////////////////////////////////////////////////////////////////////////////////////////////////////////////////////////////////////////////////////////////////////////////////////////////8BACAA////////////////AAAO////////AwAAAAQA////////////////////////////////////////////////////////////////////////////////////////////////////////////////////////////////////////////////////////////////////////////////////////////////////////////////////////////////////////////////////////////////////////////////////////////////////////////////////////////////////////////////////////////////////////////////////////////////////////////////////////////////////////////////////////////////////////////////////////////////////////////////////////AgABAP///////wUAAAACABAAC7mUMmt53qdFtX3dg2UnwnkEAAAAAAADAAAAAAADAAAAAwADAAEA////////BQAAAAMAEAAL7e/Di3+NcUmw7EN6TmuMHwQAAAABAAMAAAACAAMAAAAEAAQAAwD///////8FAAAABAAQAAs3MXqcM0M0RYyjVCkPfH+3BAAAAAIAAwAAAAMAAwAAAAE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ZQya3nep0W1fd2DZSfCeQREYXRhAAUAAAAAAk5hbWUADQAAAExpbmtEYXRhTGlzdAAQVmVyc2lvbgABAAAACUxhc3RXcml0ZQDAg729kQEAAAABAP////9hAGEAAAAFX2lkABAAAAAE7e/Di3+NcUmw7EN6TmuMHwREYXRhAAUAAAAAAk5hbWUADQAAAExpbmtEYXRhTGlzdAAQVmVyc2lvbgAAAAAACUxhc3RXcml0ZQC9g729kQEAAAACAP////9wAHAAAAAFX2lkABAAAAAENzF6nDNDNEWMo1QpD3x/twNEYXRhABYAAAACUGVyc29uYWxJZAABAAAAAAACTmFtZQALAAAAUGVyc29uYWxJZAAQVmVyc2lvbgAAAAAACUxhc3RXcml0ZQDWg72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EAP///////wUAAAAEAP///////wUAAAAEAP///////////////////////////////////////////////////////////////////////////////////////////////////////////////////////////////////////////////////////////////////////////////////////////////////////////////////////////////////////////////////////////////////////////////////////////////////////////////////////////////////////////////////////////////////////////////////////////////////////////////////////////////////////////////////////////////wEAIAH///////////////8AAA7///////8FAAAABAD///////////////////////////////////////////////////////////////////////////////////////////////////////////////////////////////////////////////////////////////////////////////////////////////////////////////////////////////////////////////////////////////////////////////////////////////////////////////////////////////////////////////////////////////////////////////////////////////////////////////////////////////////////////////////////////////////////////////////////////////////////////////////////8CAAEBAwAAAAIA////////DgAGTGlua0RhdGFMaXN0XzEEAAAAAAAFAAAAAwAFAAAABAADAAEBAwAAAAMA////////DgAGTGlua0RhdGFMaXN0XzAEAAAAAQAFAAAAAAAFAAAAAgAEAAQBAwAAAAQA////////DAAGUGVyc29uYWxJZF8wBAAAAAIABQAAAAIABQAAAAE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19995958756"/>
  <p:tag name="EMPOWERCHARTSPROPERTIES_SLOT" val="B"/>
  <p:tag name="RUNTIME_ID" val="0cbadb12-c738-4868-a4df-691086a0ccb3"/>
</p:tagLst>
</file>

<file path=ppt/tags/tag65.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BAD///////8DAAAAAwD///////8DAAAAAwD///////8DAAAAAwD///////////////////////////////////////////////////////////////////////////////////////////////////////////////////////////////////////////////////////////////////////////////////////////////////////////////////////////////////////////////////////////////////////////////////////////////////////////////////////////////////////////////////////////////////////////////////////////////////////////////////////////////////////////////////////////////8BACAA////////////////AAAO////////AwAAAAMA////////////////////////////////////////////////////////////////////////////////////////////////////////////////////////////////////////////////////////////////////////////////////////////////////////////////////////////////////////////////////////////////////////////////////////////////////////////////////////////////////////////////////////////////////////////////////////////////////////////////////////////////////////////////////////////////////////////////////////////////////////////////////////AgABAP///////wUAAAACABAAC/vB/qXyKFNPkAP/iLeMt38EAAAAAAADAAAABAADAAAAAwADAAQA////////BQAAAAMAEAALYNFk3sfSt0aQPgleHlHviAQAAAABAAMAAAACAAMAAAABAAMAAAAAAP///////wMAAAAAAP///////wMAAAAAAP///////wQAAQD///////8FAAAABAAQAAvx7XR6/eP3SJ8vPJDIuDWw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H+pfIoU0+QA/+It4y3fwREYXRhAAUAAAAAAk5hbWUADQAAAExpbmtEYXRhTGlzdAAQVmVyc2lvbgAAAAAACUxhc3RXcml0ZQAJhL29kQEAAAABAP////9hAGEAAAAFX2lkABAAAAAEYNFk3sfSt0aQPgleHlHviAREYXRhAAUAAAAAAk5hbWUADQAAAExpbmtEYXRhTGlzdAAQVmVyc2lvbgABAAAACUxhc3RXcml0ZQALhL29kQEAAAACAP////9wAHAAAAAFX2lkABAAAAAE8e10ev3j90ifLzyQyLg1sANEYXRhABYAAAACUGVyc29uYWxJZAABAAAAAAACTmFtZQALAAAAUGVyc29uYWxJZAAQVmVyc2lvbgAAAAAACUxhc3RXcml0ZQAnhL2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DAP///////wUAAAADAP///////////////////////////////////////////////////////////////////////////////////////////////////////////////////////////////////////////////////////////////////////////////////////////////////////////////////////////////////////////////////////////////////////////////////////////////////////////////////////////////////////////////////////////////////////////////////////////////////////////////////////////////////////////////////////////////wEAIAH///////////////8AAA7///////8FAAAABAD///////////////////////////////////////////////////////////////////////////////////////////////////////////////////////////////////////////////////////////////////////////////////////////////////////////////////////////////////////////////////////////////////////////////////////////////////////////////////////////////////////////////////////////////////////////////////////////////////////////////////////////////////////////////////////////////////////////////////////////////////////////////////////8CAAEBAwAAAAIA////////DgAGTGlua0RhdGFMaXN0XzAEAAAAAAAFAAAAAAAFAAAAAwADAAQBAwAAAAMA////////DgAGTGlua0RhdGFMaXN0XzEEAAAAAQAFAAAAAgAFAAAABAA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19996814683"/>
  <p:tag name="EMPOWERCHARTSPROPERTIES_SLOT" val="B"/>
  <p:tag name="RUNTIME_ID" val="10728a67-5c33-4528-9faf-c06ab7aa4531"/>
</p:tagLst>
</file>

<file path=ppt/tags/tag66.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MAAAAAAAAAAwAAAAMAAAAA/////wUA/gsAAAAAAAAAAAAAIAD///////////////8AAAD///////////////8DAAAAAgD///////8DAAAABAD///////8DAAAABAD///////////////////////////////////////////////////////////////////////////////////////////////////////////////////////////////////////////////////////////////////////////////////////////////////////////////////////////////////////////////////////////////////////////////////////////////////////////////////////////////////////////////////////////////////////////////////////////////////////////////////////////////////////////////////////////////////////////////8BACAA////////////////AAAO////////AwAAAAQA////////////////////////////////////////////////////////////////////////////////////////////////////////////////////////////////////////////////////////////////////////////////////////////////////////////////////////////////////////////////////////////////////////////////////////////////////////////////////////////////////////////////////////////////////////////////////////////////////////////////////////////////////////////////////////////////////////////////////////////////////////////////////////AgABAP///////wUAAAACABAAC4u+Swsy58RCj4KW8uYdvYoEAAAAAAADAAAAAAADAAAAAwADAAEA////////BQAAAAMAEAALFJy4Xvvu1EyP30cz7RvpGAQAAAABAAMAAAACAAMAAAAEAAQAAwD///////8FAAAABAAQAAveoeyEQAI0Qqvar8hDrcwjBAAAAAIAAwAAAAMAAwAAAAE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75LCzLnxEKPgpby5h29igREYXRhAAUAAAAAAk5hbWUADQAAAExpbmtEYXRhTGlzdAAQVmVyc2lvbgAAAAAACUxhc3RXcml0ZQBzhL29kQEAAAABAP////9hAGEAAAAFX2lkABAAAAAEFJy4Xvvu1EyP30cz7RvpGAREYXRhAAUAAAAAAk5hbWUADQAAAExpbmtEYXRhTGlzdAAQVmVyc2lvbgABAAAACUxhc3RXcml0ZQB1hL29kQEAAAACAP////9wAHAAAAAFX2lkABAAAAAE3qHshEACNEKr2q/IQ63MIwNEYXRhABYAAAACUGVyc29uYWxJZAABAAAAAAACTmFtZQALAAAAUGVyc29uYWxJZAAQVmVyc2lvbgAAAAAACUxhc3RXcml0ZQCPhL2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19997782000"/>
  <p:tag name="EMPOWERCHARTSPROPERTIES_SLOT" val="B"/>
  <p:tag name="RUNTIME_ID" val="a11197d7-79d1-4e13-a598-ce5c30fe0101"/>
</p:tagLst>
</file>

<file path=ppt/tags/tag67.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AgD///////8DAAAAAgD///////8DAAAAAgD///////8DAAAAAgD///////////////////////////////////////////////////////////////////////////////////////////////////////////////////////////////////////////////////////////////////////////////////////////////////////////////////////////////////////////////////////////////////////////////////////////////////////////////////////////////////////////////////////////////////////////////////////////////////////////////////////////////////////////////////////////////8BACAA////////////////AAAO////////AwAAAAMA////////////////////////////////////////////////////////////////////////////////////////////////////////////////////////////////////////////////////////////////////////////////////////////////////////////////////////////////////////////////////////////////////////////////////////////////////////////////////////////////////////////////////////////////////////////////////////////////////////////////////////////////////////////////////////////////////////////////////////////////////////////////////////AgAEAP///////wUAAAACABAACzqdSgdKznZOtSIbpj89slgEAAAAAAADAAAAAAADAAAABAADAAAAAAADAAAABAADAAAAAAADAAAABAADAAAAAAADAAAABAADAAEA////////BQAAAAMAEAALFbH+ipyEY0G4M8x203GVFgQAAAABAAMAAAAEAAMAAAABAAQABAD///////8FAAAABAAQAAs6+IZJA0OhS4osLACULMo/BAAAAAIAAwAAAAIAAwAAAAMAAwAAAAIA////////AwAAAAI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p1KB0rOdk61IhumPz2yWAREYXRhAAUAAAAAAk5hbWUADQAAAExpbmtEYXRhTGlzdAAQVmVyc2lvbgABAAAACUxhc3RXcml0ZQDOhL29kQEAAAABAP////9hAGEAAAAFX2lkABAAAAAEFbH+ipyEY0G4M8x203GVFgREYXRhAAUAAAAAAk5hbWUADQAAAExpbmtEYXRhTGlzdAAQVmVyc2lvbgAAAAAACUxhc3RXcml0ZQC/hL29kQEAAAACAP////9wAHAAAAAFX2lkABAAAAAEOviGSQNDoUuKLCwAlCzKPwNEYXRhABYAAAACUGVyc29uYWxJZAABAAAAAAACTmFtZQALAAAAUGVyc29uYWxJZAAQVmVyc2lvbgAAAAAACUxhc3RXcml0ZQDthL2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19998781809"/>
  <p:tag name="EMPOWERCHARTSPROPERTIES_SLOT" val="B"/>
  <p:tag name="RUNTIME_ID" val="3c94143d-1080-48da-b27f-60068b484dd7"/>
</p:tagLst>
</file>

<file path=ppt/tags/tag68.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AwD///////8DAAAABAD///////8DAAAABAD///////8DAAAABAD///////////////////////////////////////////////////////////////////////////////////////////////////////////////////////////////////////////////////////////////////////////////////////////////////////////////////////////////////////////////////////////////////////////////////////////////////////////////////////////////////////////////////////////////////////////////////////////////////////////////////////////////////////////////8BACAA////////////////AAAO////////AwAAAAQA////////////////////////////////////////////////////////////////////////////////////////////////////////////////////////////////////////////////////////////////////////////////////////////////////////////////////////////////////////////////////////////////////////////////////////////////////////////////////////////////////////////////////////////////////////////////////////////////////////////////////////////////////////////////////////////////////////////////////////////////////////////////////////AgABAP///////wUAAAACABAAC1ex6m67nzVMnHR31C9HhI0EAAAAAAADAAAAAAADAAAAAwADAAIA////////BQAAAAMAEAAL/wQPv3b6ckeY/uh26FtHbAQAAAABAAMAAAACAAMAAAAEAAMAAAAAAAMAAAAEAAQABQD///////8FAAAABAAQAAuVzizZl33CR5MOumVuNE4yBAAAAAIAAwAAAAMAAwAAAAE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7HqbrufNUycdHfUL0eEjQREYXRhAAUAAAAAAk5hbWUADQAAAExpbmtEYXRhTGlzdAAQVmVyc2lvbgAAAAAACUxhc3RXcml0ZQAfhb29kQEAAAABAP////9hAGEAAAAFX2lkABAAAAAE/wQPv3b6ckeY/uh26FtHbAREYXRhAAUAAAAAAk5hbWUADQAAAExpbmtEYXRhTGlzdAAQVmVyc2lvbgABAAAACUxhc3RXcml0ZQAfhb29kQEAAAACAP////9wAHAAAAAFX2lkABAAAAAElc4s2Zd9wkeTDrplbjROMgNEYXRhABYAAAACUGVyc29uYWxJZAABAAAAAAACTmFtZQALAAAAUGVyc29uYWxJZAAQVmVyc2lvbgAAAAAACUxhc3RXcml0ZQA3hb2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EAIAH///////////////8AAA7///////8FAAAABAD///////////////////////////////////////////////////////////////////////////////////////////////////////////////////////////////////////////////////////////////////////////////////////////////////////////////////////////////////////////////////////////////////////////////////////////////////////////////////////////////////////////////////////////////////////////////////////////////////////////////////////////////////////////////////////////////////////////////////////////////////////////////////////8CAAEBAwAAAAIA////////DgAGTGlua0RhdGFMaXN0XzAEAAAAAAAFAAAAAAAFAAAAAwADAAIBAwAAAAMA////////DgAGTGlua0RhdGFMaXN0XzEEAAAAAQAFAAAAAgAFAAAABAAFAAAAAA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19999488477"/>
  <p:tag name="EMPOWERCHARTSPROPERTIES_SLOT" val="B"/>
  <p:tag name="RUNTIME_ID" val="314620ea-2edd-4c0a-b773-88b8c9c899bd"/>
</p:tagLst>
</file>

<file path=ppt/tags/tag69.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wUAFgwAAAAAAAAAAAAAIAD///////////////8AAAD///////////////8DAAAAAgD///////////////////////////////////////////////////////////////////////////////////////////////////////////////////////////////////////////////////////////////////////////////////////////////////////////////////////////////////////////////////////////////////////////////////////////////////////////////////////////////////////////////////////////////////////////////////////////////////////////////////////////////////////////////////////////////////////////////////////////////////////////////8BACAA////////////////AAAO////////AwAAAAMA////////////////////////////////////////////////////////////////////////////////////////////////////////////////////////////////////////////////////////////////////////////////////////////////////////////////////////////////////////////////////////////////////////////////////////////////////////////////////////////////////////////////////////////////////////////////////////////////////////////////////////////////////////////////////////////////////////////////////////////////////////////////////////AgABAP///////wUAAAACABAAC5xItCqhz8xIr3Y9FC73dIAEAAAAAAADAAAAAAADAAAABAADAAEA////////BQAAAAMAEAALBQrvodJMlUGchyUyOmttmwQAAAABAAMAAAAEAAMAAAABAAQAAQD///////8FAAAABAAQAAsZXiaFNYIjTIdU+o4EVr8P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Ei0KqHPzEivdj0ULvd0gAREYXRhAAUAAAAAAk5hbWUADQAAAExpbmtEYXRhTGlzdAAQVmVyc2lvbgABAAAACUxhc3RXcml0ZQBqhb29kQEAAAABAP////9hAGEAAAAFX2lkABAAAAAEBQrvodJMlUGchyUyOmttmwREYXRhAAUAAAAAAk5hbWUADQAAAExpbmtEYXRhTGlzdAAQVmVyc2lvbgAAAAAACUxhc3RXcml0ZQBqhb29kQEAAAACAP////9wAHAAAAAFX2lkABAAAAAEGV4mhTWCI0yHVPqOBFa/DwNEYXRhABYAAAACUGVyc29uYWxJZAABAAAAAAACTmFtZQALAAAAUGVyc29uYWxJZAAQVmVyc2lvbgAAAAAACUxhc3RXcml0ZQCAhb2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EAP///////wUAAAAEAP///////////////////////////////////////////////////////////////////////////////////////////////////////////////////////////////////////////////////////////////////////////////////////////////////////////////////////////////////////////////////////////////////////////////////////////////////////////////////////////////////////////////////////////////////////////////////////////////////////////////////////////////////////////////////////////////////////////////wEAIAH///////////////8AAA7///////8FAAAABAD///////////////////////////////////////////////////////////////////////////////////////////////////////////////////////////////////////////////////////////////////////////////////////////////////////////////////////////////////////////////////////////////////////////////////////////////////////////////////////////////////////////////////////////////////////////////////////////////////////////////////////////////////////////////////////////////////////////////////////////////////////////////////////8CAAEBAwAAAAIA////////DgAGTGlua0RhdGFMaXN0XzEEAAAAAAAFAAAAAwAFAAAABAADAAEBAwAAAAMA////////DgAGTGlua0RhdGFMaXN0XzAEAAAAAQAFAAAAAAAFAAAAAgAEAAMBAwAAAAQA////////DAAGUGVyc29uYWxJZF8wBAAAAAIABQAAAAI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20000234391"/>
  <p:tag name="EMPOWERCHARTSPROPERTIES_SLOT" val="B"/>
  <p:tag name="RUNTIME_ID" val="da35cbe1-5186-4d73-9081-5af7dfa30997"/>
</p:tagLst>
</file>

<file path=ppt/tags/tag7.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77rQxMX5BFOk4DkusvKymUEAAAAAAADAAAAAAADAAAAAwADAAIA////////BQAAAAMAEAAL5F7zVjS+8UaMsKQSLeOJVQQAAAABAAMAAAACAAMAAAAEAAMAAAAAAP///////wQAAQD///////8FAAAABAAQAAtHXxrn/IYbRI7t+vnX7F/2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utDExfkEU6TgOS6y8rKZQREYXRhAAUAAAAAAk5hbWUADQAAAExpbmtEYXRhTGlzdAAQVmVyc2lvbgABAAAACUxhc3RXcml0ZQBzP+8+jwEAAAABAP////9hAGEAAAAFX2lkABAAAAAE5F7zVjS+8UaMsKQSLeOJVQREYXRhAAUAAAAAAk5hbWUADQAAAExpbmtEYXRhTGlzdAAQVmVyc2lvbgAAAAAACUxhc3RXcml0ZQBwP+8+jwEAAAACAP////9wAHAAAAAFX2lkABAAAAAER18a5/yGG0SO7fr51+xf9gNEYXRhABYAAAACUGVyc29uYWxJZAABAAAAAAACTmFtZQALAAAAUGVyc29uYWxJZAAQVmVyc2lvbgAAAAAACUxhc3RXcml0ZQCLP+8+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EBAwAAAAIA////////DgAGTGlua0RhdGFMaXN0XzEEAAAAAAAFAAAAAwAFAAAABAADAAIBAwAAAAMA////////DgAGTGlua0RhdGFMaXN0XzAEAAAAAQAFAAAAAAAFAAAAAgAFAAAAAAAFAAAABAA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503446178895955"/>
  <p:tag name="EMPOWERCHARTSPROPERTIES_SLOT" val="B"/>
  <p:tag name="RUNTIME_ID" val="f06e3359-8379-47b6-9c22-633911c3113f"/>
</p:tagLst>
</file>

<file path=ppt/tags/tag70.xml><?xml version="1.0" encoding="utf-8"?>
<p:tagLst xmlns:a="http://schemas.openxmlformats.org/drawingml/2006/main" xmlns:r="http://schemas.openxmlformats.org/officeDocument/2006/relationships" xmlns:p="http://schemas.openxmlformats.org/presentationml/2006/main">
  <p:tag name="MIO_CONTENTTAG" val="JHoCIFbBckubCxvyeo7JGWqZUZN8n/xJoJiXFGll1W8="/>
  <p:tag name="MIO_DBID" val="b8fcb12d-af03-49eb-9f79-bb019be99e1e"/>
  <p:tag name="MIO_EKGUID" val="284631ad-fa48-41b2-bffb-1edd614fe3f9"/>
  <p:tag name="MIO_GUID" val="d908c4b3-d217-49df-b5ab-de2bb56be20d"/>
  <p:tag name="MIO_LASTDOWNLOADED" val="06.09.2024 08:43:15"/>
  <p:tag name="MIO_LASTEDITORNAME" val="Georgina DEMO"/>
  <p:tag name="MIO_OBJECTNAME" val="Toolbar guidesPC"/>
  <p:tag name="MIO_UPDATE" val="True"/>
  <p:tag name="MIO_VERSION" val="05.09.2024 19:30:07"/>
</p:tagLst>
</file>

<file path=ppt/tags/tag71.xml><?xml version="1.0" encoding="utf-8"?>
<p:tagLst xmlns:a="http://schemas.openxmlformats.org/drawingml/2006/main" xmlns:r="http://schemas.openxmlformats.org/officeDocument/2006/relationships" xmlns:p="http://schemas.openxmlformats.org/presentationml/2006/main">
  <p:tag name="MIO_CONTENTTAG" val="zkxNVv/Fr06moj7KkhzjkTItALsoEWZBsnfl6DcAlYc="/>
  <p:tag name="MIO_DBID" val="b8fcb12d-af03-49eb-9f79-bb019be99e1e"/>
  <p:tag name="MIO_EKGUID" val="2d3104d3-3dc9-4de5-b8ce-816f8d6822f7"/>
  <p:tag name="MIO_GUID" val="dd242be6-ba91-4a8d-b14e-9151cc295724"/>
  <p:tag name="MIO_LASTDOWNLOADED" val="06.09.2024 08:43:16"/>
  <p:tag name="MIO_LASTEDITORNAME" val="Georgina DEMO"/>
  <p:tag name="MIO_OBJECTNAME" val="The empower® ribbon PC – video guides"/>
  <p:tag name="MIO_UPDATE" val="True"/>
  <p:tag name="MIO_VERSION" val="05.09.2024 19:30:08"/>
</p:tagLst>
</file>

<file path=ppt/tags/tag72.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MAAAAAAAAAAwAAAAMAAAAA/////wUAFgwAAAAAAAAAAAAAIAD///////////////8AAAD///////////////8DAAAAAgD///////////////////////////////////////////////////////////////////////////////////////////////////////////////////////////////////////////////////////////////////////////////////////////////////////////////////////////////////////////////////////////////////////////////////////////////////////////////////////////////////////////////////////////////////////////////////////////////////////////////////////////////////////////////////////////////////////////////////////////////////////////////8BACAA////////////////AAAO////////AwAAAAMA////////////////////////////////////////////////////////////////////////////////////////////////////////////////////////////////////////////////////////////////////////////////////////////////////////////////////////////////////////////////////////////////////////////////////////////////////////////////////////////////////////////////////////////////////////////////////////////////////////////////////////////////////////////////////////////////////////////////////////////////////////////////////////AgABAP///////wUAAAACABAAC0v4VD5wOJRLuUs9YGTWYBUEAAAAAAADAAAAAAADAAAABAADAAEA////////BQAAAAMAEAALgOgI5mXC/0+/2Jg+kXABPwQAAAABAAMAAAAEAAMAAAABAAQAAQD///////8FAAAABAAQAAv9Y1WpZThuR76H8eDhKwz9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hUPnA4lEu5Sz1gZNZgFQREYXRhAAUAAAAAAk5hbWUADQAAAExpbmtEYXRhTGlzdAAQVmVyc2lvbgABAAAACUxhc3RXcml0ZQAentW9kQEAAAABAP////9hAGEAAAAFX2lkABAAAAAEgOgI5mXC/0+/2Jg+kXABPwREYXRhAAUAAAAAAk5hbWUADQAAAExpbmtEYXRhTGlzdAAQVmVyc2lvbgAAAAAACUxhc3RXcml0ZQAentW9kQEAAAACAP////9wAHAAAAAFX2lkABAAAAAE/WNVqWU4bke+h/Hg4SsM/QNEYXRhABYAAAACUGVyc29uYWxJZAABAAAAAAACTmFtZQALAAAAUGVyc29uYWxJZAAQVmVyc2lvbgAAAAAACUxhc3RXcml0ZQBLntW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EAP///////wUAAAAEAP///////wUAAAAEAP///////////////////////////////////////////////////////////////////////////////////////////////////////////////////////////////////////////////////////////////////////////////////////////////////////////////////////////////////////////////////////////////////////////////////////////////////////////////////////////////////////////////////////////////////////////////////////////////////////////////////////////////////////////////////////////////wEAIAH///////////////8AAA7///////8FAAAABAD///////////////////////////////////////////////////////////////////////////////////////////////////////////////////////////////////////////////////////////////////////////////////////////////////////////////////////////////////////////////////////////////////////////////////////////////////////////////////////////////////////////////////////////////////////////////////////////////////////////////////////////////////////////////////////////////////////////////////////////////////////////////////////8CAAEBAwAAAAIA////////DgAGTGlua0RhdGFMaXN0XzEEAAAAAAAFAAAAAwAFAAAABAADAAEBAwAAAAMA////////DgAGTGlua0RhdGFMaXN0XzAEAAAAAQAFAAAAAAAFAAAAAgAEAAQBAwAAAAQA////////DAAGUGVyc29uYWxJZF8wBAAAAAIABQAAAAIABQAAAAE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5792420119"/>
  <p:tag name="EMPOWERCHARTSPROPERTIES_SLOT" val="B"/>
  <p:tag name="RUNTIME_ID" val="c942a85c-3daf-42cf-a48a-8d0d455ac4e6"/>
</p:tagLst>
</file>

<file path=ppt/tags/tag73.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BAD///////8DAAAAAgD///////////////////////////////////////////////////////////////////////////////////////////////////////////////////////////////////////////////////////////////////////////////////////////////////////////////////////////////////////////////////////////////////////////////////////////////////////////////////////////////////////////////////////////////////////////////////////////////////////////////////////////////////////////////////////////////////////////////8BACAA////////////////AAAO////////AwAAAAMA////////////////////////////////////////////////////////////////////////////////////////////////////////////////////////////////////////////////////////////////////////////////////////////////////////////////////////////////////////////////////////////////////////////////////////////////////////////////////////////////////////////////////////////////////////////////////////////////////////////////////////////////////////////////////////////////////////////////////////////////////////////////////////AgADAP///////wUAAAACABAACxTyeYFneyhHvlEqRs393qQEAAAAAAADAAAABAADAAAAAwADAAAABAD///////8DAAAAAAD///////8DAAEA////////BQAAAAMAEAAL/qPNrw3WsU+MeAtu42aVOgQAAAABAAMAAAACAAMAAAABAAQAAgD///////8FAAAABAAQAAt0SiQdqG8/TZ//LwYVoWJJ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PJ5gWd7KEe+USpGzf3epAREYXRhAAUAAAAAAk5hbWUADQAAAExpbmtEYXRhTGlzdAAQVmVyc2lvbgAAAAAACUxhc3RXcml0ZQDantW9kQEAAAABAP////9hAGEAAAAFX2lkABAAAAAE/qPNrw3WsU+MeAtu42aVOgREYXRhAAUAAAAAAk5hbWUADQAAAExpbmtEYXRhTGlzdAAQVmVyc2lvbgABAAAACUxhc3RXcml0ZQDantW9kQEAAAACAP////9wAHAAAAAFX2lkABAAAAAEdEokHahvP02f/y8GFaFiSQNEYXRhABYAAAACUGVyc29uYWxJZAABAAAAAAACTmFtZQALAAAAUGVyc29uYWxJZAAQVmVyc2lvbgAAAAAACUxhc3RXcml0ZQD2ntW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CAP///////////////////////////////////////////////////////////////////////////////////////////////////////////////////////////////////////////////////////////////////////////////////////////////////////////////////////////////////////////////////////////////////////////////////////////////////////////////////////////////////////////////////////////////////////////////////////////////////////////////////////////////////////////////////////////////////////////////wEAIAH///////////////8AAA7///////8FAAAABAD///////////////////////////////////////////////////////////////////////////////////////////////////////////////////////////////////////////////////////////////////////////////////////////////////////////////////////////////////////////////////////////////////////////////////////////////////////////////////////////////////////////////////////////////////////////////////////////////////////////////////////////////////////////////////////////////////////////////////////////////////////////////////////8CAAMBAwAAAAIA////////DgAGTGlua0RhdGFMaXN0XzAEAAAAAAAFAAAAAAAFAAAAAwAFAAAAAAAFAAAABAAFAAAAAAAFAAAABAADAAEBAwAAAAMA////////DgAGTGlua0RhdGFMaXN0XzEEAAAAAQAFAAAAAgAFAAAABAAEAAMBAwAAAAQA////////DAAGUGVyc29uYWxJZF8wBAAAAAIABQAAAAM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5794087313"/>
  <p:tag name="EMPOWERCHARTSPROPERTIES_SLOT" val="B"/>
  <p:tag name="RUNTIME_ID" val="a7e620ec-4af1-495a-83cc-8525e694d323"/>
</p:tagLst>
</file>

<file path=ppt/tags/tag74.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MA////////////////////////////////////////////////////////////////////////////////////////////////////////////////////////////////////////////////////////////////////////////////////////////////////////////////////////////////////////////////////////////////////////////////////////////////////////////////////////////////////////////////////////////////////////////////////////////////////////////////////////////////////////////////////////////////////////////////////////////////////////////////////////AgABAP///////wUAAAACABAAC1WycCpwb6hAt/bdQQjVRCkEAAAAAAADAAAAAAADAAAABAADAAIA////////BQAAAAMAEAALamlSmXC6MUCByud2dvmvYgQAAAABAAMAAAAEAAMAAAABAAMAAAAAAP///////wQAAQD///////8FAAAABAAQAAscRzKWS0VRQLltcbm98pGw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bJwKnBvqEC39t1BCNVEKQREYXRhAAUAAAAAAk5hbWUADQAAAExpbmtEYXRhTGlzdAAQVmVyc2lvbgABAAAACUxhc3RXcml0ZQAkn9W9kQEAAAABAP////9hAGEAAAAFX2lkABAAAAAEamlSmXC6MUCByud2dvmvYgREYXRhAAUAAAAAAk5hbWUADQAAAExpbmtEYXRhTGlzdAAQVmVyc2lvbgAAAAAACUxhc3RXcml0ZQAjn9W9kQEAAAACAP////9wAHAAAAAFX2lkABAAAAAEHEcylktFUUC5bXG5vfKRsANEYXRhABYAAAACUGVyc29uYWxJZAABAAAAAAACTmFtZQALAAAAUGVyc29uYWxJZAAQVmVyc2lvbgAAAAAACUxhc3RXcml0ZQBfn9W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5795188210"/>
  <p:tag name="EMPOWERCHARTSPROPERTIES_SLOT" val="B"/>
  <p:tag name="RUNTIME_ID" val="5db9d0ab-fd17-4d2c-9025-66e4ad98e6ef"/>
</p:tagLst>
</file>

<file path=ppt/tags/tag75.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MA////////////////////////////////////////////////////////////////////////////////////////////////////////////////////////////////////////////////////////////////////////////////////////////////////////////////////////////////////////////////////////////////////////////////////////////////////////////////////////////////////////////////////////////////////////////////////////////////////////////////////////////////////////////////////////////////////////////////////////////////////////////////////////AgABAP///////wUAAAACABAAC3EevAQ5fdtKiSBv6B13y+IEAAAAAAADAAAAAAADAAAABAADAAEA////////BQAAAAMAEAALSs1u+h4gckmSFYWj1meHvAQAAAABAAMAAAAEAAMAAAABAAQAAgD///////8FAAAABAAQAAvz3LJ1v1MrT4pGvO9wN3UV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R68BDl920qJIG/oHXfL4gREYXRhAAUAAAAAAk5hbWUADQAAAExpbmtEYXRhTGlzdAAQVmVyc2lvbgAAAAAACUxhc3RXcml0ZQDnn9W9kQEAAAABAP////9hAGEAAAAFX2lkABAAAAAESs1u+h4gckmSFYWj1meHvAREYXRhAAUAAAAAAk5hbWUADQAAAExpbmtEYXRhTGlzdAAQVmVyc2lvbgABAAAACUxhc3RXcml0ZQDqn9W9kQEAAAACAP////9wAHAAAAAFX2lkABAAAAAE89yydb9TK0+KRrzvcDd1FQNEYXRhABYAAAACUGVyc29uYWxJZAABAAAAAAACTmFtZQALAAAAUGVyc29uYWxJZAAQVmVyc2lvbgAAAAAACUxhc3RXcml0ZQAMoNW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5796868435"/>
  <p:tag name="EMPOWERCHARTSPROPERTIES_SLOT" val="B"/>
  <p:tag name="RUNTIME_ID" val="35689700-9093-448b-8962-7214d2ef1850"/>
</p:tagLst>
</file>

<file path=ppt/tags/tag76.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BAD///////8DAAAAAgD///////8DAAAAAgD///////////////////////////////////////////////////////////////////////////////////////////////////////////////////////////////////////////////////////////////////////////////////////////////////////////////////////////////////////////////////////////////////////////////////////////////////////////////////////////////////////////////////////////////////////////////////////////////////////////////////////////////////////////////////////////////8BACAA////////////////AAAO////////AwAAAAMA////////////////////////////////////////////////////////////////////////////////////////////////////////////////////////////////////////////////////////////////////////////////////////////////////////////////////////////////////////////////////////////////////////////////////////////////////////////////////////////////////////////////////////////////////////////////////////////////////////////////////////////////////////////////////////////////////////////////////////////////////////////////////////AgAEAP///////wUAAAACABAACwr/y522qclPtzOrOz4QJbIEAAAAAAADAAAABAADAAAAAwADAAAABAD///////8DAAAAAAD///////8DAAAAAAD///////8DAAEA////////BQAAAAMAEAALEkwV88/B3EGU714k+2XYYAQAAAABAAMAAAACAAMAAAABAAQAAgD///////8FAAAABAAQAAu/lSVF/MdERqnY6/cNhT9x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v/LnbapyU+3M6s7PhAlsgREYXRhAAUAAAAAAk5hbWUADQAAAExpbmtEYXRhTGlzdAAQVmVyc2lvbgABAAAACUxhc3RXcml0ZQBMoNW9kQEAAAABAP////9hAGEAAAAFX2lkABAAAAAEEkwV88/B3EGU714k+2XYYAREYXRhAAUAAAAAAk5hbWUADQAAAExpbmtEYXRhTGlzdAAQVmVyc2lvbgAAAAAACUxhc3RXcml0ZQBDoNW9kQEAAAACAP////9wAHAAAAAFX2lkABAAAAAEv5UlRfzHREap2Ov3DYU/cQNEYXRhABYAAAACUGVyc29uYWxJZAABAAAAAAACTmFtZQALAAAAUGVyc29uYWxJZAAQVmVyc2lvbgAAAAAACUxhc3RXcml0ZQBkoNW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5797850819"/>
  <p:tag name="EMPOWERCHARTSPROPERTIES_SLOT" val="B"/>
  <p:tag name="RUNTIME_ID" val="49d0e706-39c3-496e-b2fd-4a3838173121"/>
</p:tagLst>
</file>

<file path=ppt/tags/tag77.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gD///////8DAAAAAgD///////8DAAAAAgD///////////////////////////////////////////////////////////////////////////////////////////////////////////////////////////////////////////////////////////////////////////////////////////////////////////////////////////////////////////////////////////////////////////////////////////////////////////////////////////////////////////////////////////////////////////////////////////////////////////////////////////////////////////////////////////////8BACAA////////////////AAAO////////AwAAAAMA////////////////////////////////////////////////////////////////////////////////////////////////////////////////////////////////////////////////////////////////////////////////////////////////////////////////////////////////////////////////////////////////////////////////////////////////////////////////////////////////////////////////////////////////////////////////////////////////////////////////////////////////////////////////////////////////////////////////////////////////////////////////////////AgAEAP///////wUAAAACABAAC+kntWlubMZHvW9aDmFZeZ0EAAAAAAADAAAAAAADAAAABAADAAAAAAADAAAABAADAAAAAAD///////8DAAAAAAD///////8DAAEA////////BQAAAAMAEAAL+sTQw3+AtkCgUeeTeYPGsQQAAAABAAMAAAAEAAMAAAABAAQAAgD///////8FAAAABAAQAAuv4GSTR5YfTrcAMsfRBKb1BAAAAAIAAwAAAAI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6Se1aW5sxke9b1oOYVl5nQREYXRhAAUAAAAAAk5hbWUADQAAAExpbmtEYXRhTGlzdAAQVmVyc2lvbgABAAAACUxhc3RXcml0ZQCjoNW9kQEAAAABAP////9hAGEAAAAFX2lkABAAAAAE+sTQw3+AtkCgUeeTeYPGsQREYXRhAAUAAAAAAk5hbWUADQAAAExpbmtEYXRhTGlzdAAQVmVyc2lvbgAAAAAACUxhc3RXcml0ZQCioNW9kQEAAAACAP////9wAHAAAAAFX2lkABAAAAAEr+Bkk0eWH063ADLH0QSm9QNEYXRhABYAAAACUGVyc29uYWxJZAABAAAAAAACTmFtZQALAAAAUGVyc29uYWxJZAAQVmVyc2lvbgAAAAAACUxhc3RXcml0ZQC9oNW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CAP///////wUAAAACAP///////wUAAAACAP///////////////////////////////////////////////////////////////////////////////////////////////////////////////////////////////////////////////////////////////////////////////////////////////////////////////////////////////////////////////////////////////////////////////////////////////////////////////////////////////////////////////////////////////////////////////////////////////////////////////////////////////////////////////////////////////wEAIAH///////////////8AAA7///////8FAAAABAD///////////////////////////////////////////////////////////////////////////////////////////////////////////////////////////////////////////////////////////////////////////////////////////////////////////////////////////////////////////////////////////////////////////////////////////////////////////////////////////////////////////////////////////////////////////////////////////////////////////////////////////////////////////////////////////////////////////////////////////////////////////////////////8CAAQBAwAAAAIA////////DgAGTGlua0RhdGFMaXN0XzEEAAAAAAAFAAAAAwAFAAAABAAFAAAAAAAFAAAABAAFAAAAAAAFAAAABAAFAAAAAAD///////8DAAEBAwAAAAMA////////DgAGTGlua0RhdGFMaXN0XzAEAAAAAQAFAAAAAAAFAAAAAgAEAAMBAwAAAAQA////////DAAGUGVyc29uYWxJZF8wBAAAAAIABQAAAAI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5798712328"/>
  <p:tag name="EMPOWERCHARTSPROPERTIES_SLOT" val="B"/>
  <p:tag name="RUNTIME_ID" val="e54c1585-232c-4cd0-aa37-721b7af6c083"/>
</p:tagLst>
</file>

<file path=ppt/tags/tag78.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zGoHlqIxgRCjGEZtxfl9/cEAAAAAAADAAAAAAADAAAABAADAAEA////////BQAAAAMAEAAL+YSO638IQk+I/or/ar1KkAQAAAABAAMAAAAEAAMAAAABAAQAAQD///////8FAAAABAAQAAs3YVzfQuEaTae+RWaHBMGm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ageWojGBEKMYRm3F+X39wREYXRhAAUAAAAAAk5hbWUADQAAAExpbmtEYXRhTGlzdAAQVmVyc2lvbgAAAAAACUxhc3RXcml0ZQACodW9kQEAAAABAP////9hAGEAAAAFX2lkABAAAAAE+YSO638IQk+I/or/ar1KkAREYXRhAAUAAAAAAk5hbWUADQAAAExpbmtEYXRhTGlzdAAQVmVyc2lvbgABAAAACUxhc3RXcml0ZQADodW9kQEAAAACAP////9wAHAAAAAFX2lkABAAAAAEN2Fc30LhGk2nvkVmhwTBpgNEYXRhABYAAAACUGVyc29uYWxJZAABAAAAAAACTmFtZQALAAAAUGVyc29uYWxJZAAQVmVyc2lvbgAAAAAACUxhc3RXcml0ZQAeodW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5799571829"/>
  <p:tag name="EMPOWERCHARTSPROPERTIES_SLOT" val="B"/>
  <p:tag name="RUNTIME_ID" val="720646c3-1e56-4f94-a3fd-38818c346f9d"/>
</p:tagLst>
</file>

<file path=ppt/tags/tag79.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gsAAAAAAAAAAAAAIAD///////////////8AAAD///////////////8DAAAAAgD///////8DAAAABAD///////////////////////////////////////////////////////////////////////////////////////////////////////////////////////////////////////////////////////////////////////////////////////////////////////////////////////////////////////////////////////////////////////////////////////////////////////////////////////////////////////////////////////////////////////////////////////////////////////////////////////////////////////////////////////////////////////////////////////////////8BACAA////////////////AAAO////////AwAAAAMA////////////////////////////////////////////////////////////////////////////////////////////////////////////////////////////////////////////////////////////////////////////////////////////////////////////////////////////////////////////////////////////////////////////////////////////////////////////////////////////////////////////////////////////////////////////////////////////////////////////////////////////////////////////////////////////////////////////////////////////////////////////////////////AgABAP///////wUAAAACABAAC/y/eAqIZ3JKo5YkwLBZ8TsEAAAAAAADAAAAAAADAAAABAADAAIA////////BQAAAAMAEAALcAow6bwjLk+WTh3Ud7Jc/wQAAAABAAMAAAAEAAMAAAABAAMAAAAEAP///////wQAAgD///////8FAAAABAAQAAtVATuwD9QqTKK2skbccjeQ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94CohnckqjliTAsFnxOwREYXRhAAUAAAAAAk5hbWUADQAAAExpbmtEYXRhTGlzdAAQVmVyc2lvbgAAAAAACUxhc3RXcml0ZQBDd9W9kQEAAAABAP////9hAGEAAAAFX2lkABAAAAAEcAow6bwjLk+WTh3Ud7Jc/wREYXRhAAUAAAAAAk5hbWUADQAAAExpbmtEYXRhTGlzdAAQVmVyc2lvbgABAAAACUxhc3RXcml0ZQBEd9W9kQEAAAACAP////9wAHAAAAAFX2lkABAAAAAEVQE7sA/UKkyitrJG3HI3kANEYXRhABYAAAACUGVyc29uYWxJZAABAAAAAAACTmFtZQALAAAAUGVyc29uYWxJZAAQVmVyc2lvbgAAAAAACUxhc3RXcml0ZQBld9W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EAP///////////////////////////////////////////////////////////////////////////////////////////////////////////////////////////////////////////////////////////////////////////////////////////////////////////////////////////////////////////////////////////////////////////////////////////////////////////////////////////////////////////////////////////////////////////////////////////////////////////////////////////////////////////////////////////////////////////////wEAIAH///////////////8AAA7///////8FAAAABAD///////////////////////////////////////////////////////////////////////////////////////////////////////////////////////////////////////////////////////////////////////////////////////////////////////////////////////////////////////////////////////////////////////////////////////////////////////////////////////////////////////////////////////////////////////////////////////////////////////////////////////////////////////////////////////////////////////////////////////////////////////////////////////8CAAEBAwAAAAIA////////DgAGTGlua0RhdGFMaXN0XzAEAAAAAAAFAAAAAAAFAAAAAwADAAIBAwAAAAMA////////DgAGTGlua0RhdGFMaXN0XzEEAAAAAQAFAAAAAgAFAAAABAAFAAAAAAAFAAAABAAEAAMBAwAAAAQA////////DAAGUGVyc29uYWxJZF8wBAAAAAIABQAAAAMABQAAAAE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5692807926"/>
  <p:tag name="EMPOWERCHARTSPROPERTIES_SLOT" val="B"/>
  <p:tag name="MIO_CONTENTTAG" val="TndV2LRN10qUHt3hv31FSQ=="/>
  <p:tag name="MIO_DBID" val="B8FCB12D-AF03-49EB-9F79-BB019BE99E1E"/>
  <p:tag name="MIO_EK" val="3965"/>
  <p:tag name="MIO_EKGUID" val="0a5f4d0e-927c-4d1f-91c5-9df45d4f4484"/>
  <p:tag name="MIO_GUID" val="a54fe37f-e726-483f-bdc8-8a6ab1a7e460"/>
  <p:tag name="MIO_LASTDOWNLOADED" val="04.09.2024 17:23:52.689"/>
  <p:tag name="MIO_LASTEDITORNAME" val="Georgina DEMO"/>
  <p:tag name="MIO_OBJECTNAME" val="_Footnotes - full width"/>
  <p:tag name="MIO_SHAPETYPES_TEXTELEMENT" val="MIO_FOOTNOTE"/>
  <p:tag name="MIO_SKIP_CDCHECK" val="True"/>
  <p:tag name="MIO_UPDATE" val="True"/>
  <p:tag name="MIO_VERSION" val="21.06.2024 13:11:00"/>
  <p:tag name="RUNTIME_ID" val="deaf5a15-03f1-4327-9456-e9c387498b5a"/>
</p:tagLst>
</file>

<file path=ppt/tags/tag8.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8gsAAAAAAAAAAAAAIAD///////////////8AAAD///////////////8DAAAAAgD///////8DAAAAAgD///////8DAAAABAD///////////////////////////////////////////////////////////////////////////////////////////////////////////////////////////////////////////////////////////////////////////////////////////////////////////////////////////////////////////////////////////////////////////////////////////////////////////////////////////////////////////////////////////////////////////////////////////////////////////////////////////////////////////////////////////////////////////////8BACAA////////////////AAAO////////AwAAAAQA////////////////////////////////////////////////////////////////////////////////////////////////////////////////////////////////////////////////////////////////////////////////////////////////////////////////////////////////////////////////////////////////////////////////////////////////////////////////////////////////////////////////////////////////////////////////////////////////////////////////////////////////////////////////////////////////////////////////////////////////////////////////////////AgACAP///////wUAAAACABAAC6p8BxkJPNROm++MrWxG2x0EAAAAAAADAAAAAAADAAAAAwADAAAAAAADAAAABAADAAEA////////BQAAAAMAEAALbb8qnUzDUUq6DAPDe4SgQgQAAAABAAMAAAACAAMAAAAEAAQAAwD///////8FAAAABAAQAAsqSRf6XAuLRIYsHm4wm6XPBAAAAAIAAwAAAAMAAwAAAAE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nwHGQk81E6b74ytbEbbHQREYXRhAAUAAAAAAk5hbWUADQAAAExpbmtEYXRhTGlzdAAQVmVyc2lvbgAAAAAACUxhc3RXcml0ZQBJx/qfjwEAAAABAP////9hAGEAAAAFX2lkABAAAAAEbb8qnUzDUUq6DAPDe4SgQgREYXRhAAUAAAAAAk5hbWUADQAAAExpbmtEYXRhTGlzdAAQVmVyc2lvbgABAAAACUxhc3RXcml0ZQBKx/qfjwEAAAACAP////9wAHAAAAAFX2lkABAAAAAEKkkX+lwLi0SGLB5uMJulzwNEYXRhABYAAAACUGVyc29uYWxJZAABAAAAAAACTmFtZQALAAAAUGVyc29uYWxJZAAQVmVyc2lvbgAAAAAACUxhc3RXcml0ZQBnx/qf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519727635159092"/>
  <p:tag name="EMPOWERCHARTSPROPERTIES_SLOT" val="B"/>
  <p:tag name="RUNTIME_ID" val="3238f02d-c838-4d92-b09b-2f7e20bf2082"/>
</p:tagLst>
</file>

<file path=ppt/tags/tag80.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gD///////8DAAAAAgD///////////////////////////////////////////////////////////////////////////////////////////////////////////////////////////////////////////////////////////////////////////////////////////////////////////////////////////////////////////////////////////////////////////////////////////////////////////////////////////////////////////////////////////////////////////////////////////////////////////////////////////////////////////////////////////////////////////////8BACAA////////////////AAAO////////AwAAAAMA////////////////////////////////////////////////////////////////////////////////////////////////////////////////////////////////////////////////////////////////////////////////////////////////////////////////////////////////////////////////////////////////////////////////////////////////////////////////////////////////////////////////////////////////////////////////////////////////////////////////////////////////////////////////////////////////////////////////////////////////////////////////////////AgADAP///////wUAAAACABAAC4ZkFxRERwJAjzK6lvKP9JwEAAAAAAADAAAAAAADAAAABAADAAAAAAD///////8DAAAAAAD///////8DAAEA////////BQAAAAMAEAAL7Xfng5PnIE+kzidTYB5AhgQAAAABAAMAAAAEAAMAAAABAAQAAQD///////8FAAAABAAQAAu4myxP0aqeRaOhvIJCQFH+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mQXFERHAkCPMrqW8o/0nAREYXRhAAUAAAAAAk5hbWUADQAAAExpbmtEYXRhTGlzdAAQVmVyc2lvbgAAAAAACUxhc3RXcml0ZQDpdtW9kQEAAAABAP////9hAGEAAAAFX2lkABAAAAAE7Xfng5PnIE+kzidTYB5AhgREYXRhAAUAAAAAAk5hbWUADQAAAExpbmtEYXRhTGlzdAAQVmVyc2lvbgABAAAACUxhc3RXcml0ZQDudtW9kQEAAAACAP////9wAHAAAAAFX2lkABAAAAAEuJssT9GqnkWjobyCQkBR/gNEYXRhABYAAAACUGVyc29uYWxJZAABAAAAAAACTmFtZQALAAAAUGVyc29uYWxJZAAQVmVyc2lvbgAAAAAACUxhc3RXcml0ZQAId9W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EAIAH///////////////8AAA7///////8FAAAABAD///////////////////////////////////////////////////////////////////////////////////////////////////////////////////////////////////////////////////////////////////////////////////////////////////////////////////////////////////////////////////////////////////////////////////////////////////////////////////////////////////////////////////////////////////////////////////////////////////////////////////////////////////////////////////////////////////////////////////////////////////////////////////////8CAAMBAwAAAAIA////////DgAGTGlua0RhdGFMaXN0XzAEAAAAAAAFAAAAAAAFAAAAAwAFAAAAAAAFAAAABAAFAAAAAAD///////8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5691820645"/>
  <p:tag name="EMPOWERCHARTSPROPERTIES_SLOT" val="B"/>
  <p:tag name="RUNTIME_ID" val="d35b664f-229d-4ba8-b470-f6b78f1e0b9e"/>
</p:tagLst>
</file>

<file path=ppt/tags/tag81.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2gsAAAAAAAAAAAAAIAD///////////////8AAAD///////////////8DAAAAAgD///////8DAAAAAgD///////8DAAAABAD///////////////////////////////////////////////////////////////////////////////////////////////////////////////////////////////////////////////////////////////////////////////////////////////////////////////////////////////////////////////////////////////////////////////////////////////////////////////////////////////////////////////////////////////////////////////////////////////////////////////////////////////////////////////////////////////////////////////8BACAA////////////////AAAO////////AwAAAAMA////////////////////////////////////////////////////////////////////////////////////////////////////////////////////////////////////////////////////////////////////////////////////////////////////////////////////////////////////////////////////////////////////////////////////////////////////////////////////////////////////////////////////////////////////////////////////////////////////////////////////////////////////////////////////////////////////////////////////////////////////////////////////////AgACAP///////wUAAAACABAAC+XkhKFvKR5Nvr9esinl0zgEAAAAAAADAAAAAAADAAAABAADAAAAAAADAAAABAADAAMA////////BQAAAAMAEAAL8Kn+9oJElE6lvlYCEkor6wQAAAABAAMAAAAEAAMAAAABAAMAAAAEAP///////wMAAAAEAP///////wQAAwD///////8FAAAABAAQAAtbaOWy5pzaRormdoTxXK7RBAAAAAIAAwAAAAIAAwAAAAM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5eSEoW8pHk2+v16yKeXTOAREYXRhAAUAAAAAAk5hbWUADQAAAExpbmtEYXRhTGlzdAAQVmVyc2lvbgABAAAACUxhc3RXcml0ZQCoCta9kQEAAAABAP////9hAGEAAAAFX2lkABAAAAAE8Kn+9oJElE6lvlYCEkor6wREYXRhAAUAAAAAAk5hbWUADQAAAExpbmtEYXRhTGlzdAAQVmVyc2lvbgAAAAAACUxhc3RXcml0ZQCnCta9kQEAAAACAP////9wAHAAAAAFX2lkABAAAAAEW2jlsuac2kaK5naE8Vyu0QNEYXRhABYAAAACUGVyc29uYWxJZAABAAAAAAACTmFtZQALAAAAUGVyc29uYWxJZAAQVmVyc2lvbgAAAAAACUxhc3RXcml0ZQC/Cta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EAIAH///////////////8AAA7///////8FAAAABAD///////////////////////////////////////////////////////////////////////////////////////////////////////////////////////////////////////////////////////////////////////////////////////////////////////////////////////////////////////////////////////////////////////////////////////////////////////////////////////////////////////////////////////////////////////////////////////////////////////////////////////////////////////////////////////////////////////////////////////////////////////////////////////8CAAIBAwAAAAIA////////DgAGTGlua0RhdGFMaXN0XzEEAAAAAAAFAAAAAwAFAAAABAAFAAAAAwAFAAAABAADAAMBAwAAAAMA////////DgAGTGlua0RhdGFMaXN0XzAEAAAAAQAFAAAAAAAFAAAAAgAFAAAAAAAFAAAAAgAFAAAAAAAFAAAABAAEAAMBAwAAAAQA////////DAAGUGVyc29uYWxJZF8wBAAAAAIABQAAAAIABQAAAAEABQAAAAI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6069969713"/>
  <p:tag name="EMPOWERCHARTSPROPERTIES_SLOT" val="B"/>
  <p:tag name="RUNTIME_ID" val="397ff58c-3364-499a-96b7-52e7b718d686"/>
</p:tagLst>
</file>

<file path=ppt/tags/tag82.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wUA5gsAAAAAAAAAAAAAIAD///////////////8AAAD///////////////8DAAAAAgD///////8DAAAAAwD///////8DAAAABAD///////8DAAAABAD///////////////////////////////////////////////////////////////////////////////////////////////////////////////////////////////////////////////////////////////////////////////////////////////////////////////////////////////////////////////////////////////////////////////////////////////////////////////////////////////////////////////////////////////////////////////////////////////////////////////////////////////////////////////////////////////8BACAA////////////////AAAO////////AwAAAAQA////////////////////////////////////////////////////////////////////////////////////////////////////////////////////////////////////////////////////////////////////////////////////////////////////////////////////////////////////////////////////////////////////////////////////////////////////////////////////////////////////////////////////////////////////////////////////////////////////////////////////////////////////////////////////////////////////////////////////////////////////////////////////////AgABAP///////wUAAAACABAAC4F8g12TewBLuoB3Emrg7nYEAAAAAAADAAAAAAADAAAAAwADAAIA////////BQAAAAMAEAALHB6plzkDjUO14uMqFDIibQQAAAABAAMAAAACAAMAAAAEAAMAAAAAAAMAAAAEAAQABAD///////8FAAAABAAQAAuahFjqM2wFSJT1I0/1uWaHBAAAAAIAAwAAAAMAAwAAAAEAAwAAAAM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gXyDXZN7AEu6gHcSauDudgREYXRhAAUAAAAAAk5hbWUADQAAAExpbmtEYXRhTGlzdAAQVmVyc2lvbgAAAAAACUxhc3RXcml0ZQACC9a9kQEAAAABAP////9hAGEAAAAFX2lkABAAAAAEHB6plzkDjUO14uMqFDIibQREYXRhAAUAAAAAAk5hbWUADQAAAExpbmtEYXRhTGlzdAAQVmVyc2lvbgABAAAACUxhc3RXcml0ZQAFC9a9kQEAAAACAP////9wAHAAAAAFX2lkABAAAAAEmoRY6jNsBUiU9SNP9blmhwNEYXRhABYAAAACUGVyc29uYWxJZAABAAAAAAACTmFtZQALAAAAUGVyc29uYWxJZAAQVmVyc2lvbgAAAAAACUxhc3RXcml0ZQAbC9a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EAIAH///////////////8AAA7///////8FAAAABAD///////////////////////////////////////////////////////////////////////////////////////////////////////////////////////////////////////////////////////////////////////////////////////////////////////////////////////////////////////////////////////////////////////////////////////////////////////////////////////////////////////////////////////////////////////////////////////////////////////////////////////////////////////////////////////////////////////////////////////////////////////////////////////8CAAEBAwAAAAIA////////DgAGTGlua0RhdGFMaXN0XzAEAAAAAAAFAAAAAAAFAAAAAwADAAIBAwAAAAMA////////DgAGTGlua0RhdGFMaXN0XzEEAAAAAQAFAAAAAgAFAAAABAAFAAAAAA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6070964320"/>
  <p:tag name="EMPOWERCHARTSPROPERTIES_SLOT" val="B"/>
  <p:tag name="RUNTIME_ID" val="fff9eacd-3144-45d3-ab4f-2a2c9fbe8849"/>
</p:tagLst>
</file>

<file path=ppt/tags/tag83.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QA////////////////////////////////////////////////////////////////////////////////////////////////////////////////////////////////////////////////////////////////////////////////////////////////////////////////////////////////////////////////////////////////////////////////////////////////////////////////////////////////////////////////////////////////////////////////////////////////////////////////////////////////////////////////////////////////////////////////////////////////////////////////////////AgABAP///////wUAAAACABAAC+mM2jNQqE9IqOTCnJNP4KAEAAAAAAADAAAAAAADAAAAAwADAAEA////////BQAAAAMAEAALz3wlozWIHUm+t9cbALssiQQAAAABAAMAAAACAAMAAAAEAAQAAQD///////8FAAAABAAQAAsJDZLMn57KR7RuDlbOKWpH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6YzaM1CoT0io5MKck0/goAREYXRhAAUAAAAAAk5hbWUADQAAAExpbmtEYXRhTGlzdAAQVmVyc2lvbgAAAAAACUxhc3RXcml0ZQAIWta9kQEAAAABAP////9hAGEAAAAFX2lkABAAAAAEz3wlozWIHUm+t9cbALssiQREYXRhAAUAAAAAAk5hbWUADQAAAExpbmtEYXRhTGlzdAAQVmVyc2lvbgABAAAACUxhc3RXcml0ZQALWta9kQEAAAACAP////9wAHAAAAAFX2lkABAAAAAECQ2SzJ+eyke0bg5WzilqRwNEYXRhABYAAAACUGVyc29uYWxJZAABAAAAAAACTmFtZQALAAAAUGVyc29uYWxJZAAQVmVyc2lvbgAAAAAACUxhc3RXcml0ZQAiWta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6273230274"/>
  <p:tag name="EMPOWERCHARTSPROPERTIES_SLOT" val="B"/>
  <p:tag name="RUNTIME_ID" val="77259959-ef4f-4adf-a270-a9097c0bb16a"/>
</p:tagLst>
</file>

<file path=ppt/tags/tag84.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gD///////////////////////////////////////////////////////////////////////////////////////////////////////////////////////////////////////////////////////////////////////////////////////////////////////////////////////////////////////////////////////////////////////////////////////////////////////////////////////////////////////////////////////////////////////////////////////////////////////////////////////////////////////////////////////////////////////////////8BACAA////////////////AAAO////////AwAAAAQA////////////////////////////////////////////////////////////////////////////////////////////////////////////////////////////////////////////////////////////////////////////////////////////////////////////////////////////////////////////////////////////////////////////////////////////////////////////////////////////////////////////////////////////////////////////////////////////////////////////////////////////////////////////////////////////////////////////////////////////////////////////////////////AgADAP///////wUAAAACABAAC3xWDFDGXD1FjIS/d2BV4RsEAAAAAAADAAAAAAADAAAAAwADAAAAAAADAAAABAADAAAAAAADAAAABAADAAEA////////BQAAAAMAEAALYSvrvDJu9UW706UltxvIWAQAAAABAAMAAAACAAMAAAAEAAQAAwD///////8FAAAABAAQAAvaYQe/Na5TQJ2jyy4CE6zWBAAAAAIAAwAAAAMAAwAAAAEAAwAAAAI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FYMUMZcPUWMhL93YFXhGwREYXRhAAUAAAAAAk5hbWUADQAAAExpbmtEYXRhTGlzdAAQVmVyc2lvbgABAAAACUxhc3RXcml0ZQA6W9a9kQEAAAABAP////9hAGEAAAAFX2lkABAAAAAEYSvrvDJu9UW706UltxvIWAREYXRhAAUAAAAAAk5hbWUADQAAAExpbmtEYXRhTGlzdAAQVmVyc2lvbgAAAAAACUxhc3RXcml0ZQA3W9a9kQEAAAACAP////9wAHAAAAAFX2lkABAAAAAE2mEHvzWuU0Cdo8suAhOs1gNEYXRhABYAAAACUGVyc29uYWxJZAABAAAAAAACTmFtZQALAAAAUGVyc29uYWxJZAAQVmVyc2lvbgAAAAAACUxhc3RXcml0ZQBRW9a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UAAAACAP///////////////////////////////////////////////////////////////////////////////////////////////////////////////////////////////////////////////////////////////////////////////////////////////////////////////////////////////////////////////////////////////////////////////////////////////////////////////////////////////////////////////////////////////////////////////////////////////////////////////////////////////////////////////////////////////////////////////wEAIAH///////////////8AAA7///////8FAAAABAD///////////////////////////////////////////////////////////////////////////////////////////////////////////////////////////////////////////////////////////////////////////////////////////////////////////////////////////////////////////////////////////////////////////////////////////////////////////////////////////////////////////////////////////////////////////////////////////////////////////////////////////////////////////////////////////////////////////////////////////////////////////////////////8CAAMBAwAAAAIA////////DgAGTGlua0RhdGFMaXN0XzEEAAAAAAAFAAAAAwAFAAAABAA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6276250892"/>
  <p:tag name="EMPOWERCHARTSPROPERTIES_SLOT" val="B"/>
  <p:tag name="RUNTIME_ID" val="3d783d0c-41e2-4b10-a5ab-3b255b85111b"/>
</p:tagLst>
</file>

<file path=ppt/tags/tag85.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MA////////////////////////////////////////////////////////////////////////////////////////////////////////////////////////////////////////////////////////////////////////////////////////////////////////////////////////////////////////////////////////////////////////////////////////////////////////////////////////////////////////////////////////////////////////////////////////////////////////////////////////////////////////////////////////////////////////////////////////////////////////////////////////AgACAP///////wUAAAACABAACxpgYS1A4rNJukS7u0fA9qQEAAAAAAADAAAAAAADAAAABAADAAAAAAADAAAAAwADAAIA////////BQAAAAMAEAALVpY9bAO50EiBkIvPs6j1mQQAAAABAAMAAAAEAAMAAAABAAMAAAACAP///////wQAAQD///////8FAAAABAAQAAsWvQJT1w/KQZImGxi1FpEy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GmBhLUDis0m6RLu7R8D2pAREYXRhAAUAAAAAAk5hbWUADQAAAExpbmtEYXRhTGlzdAAQVmVyc2lvbgAAAAAACUxhc3RXcml0ZQCfWNa9kQEAAAABAP////9hAGEAAAAFX2lkABAAAAAEVpY9bAO50EiBkIvPs6j1mQREYXRhAAUAAAAAAk5hbWUADQAAAExpbmtEYXRhTGlzdAAQVmVyc2lvbgABAAAACUxhc3RXcml0ZQCiWNa9kQEAAAACAP////9wAHAAAAAFX2lkABAAAAAEFr0CU9cPykGSJhsYtRaRMgNEYXRhABYAAAACUGVyc29uYWxJZAABAAAAAAACTmFtZQALAAAAUGVyc29uYWxJZAAQVmVyc2lvbgAAAAAACUxhc3RXcml0ZQDAWNa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AwADAAIBAwAAAAMA////////DgAGTGlua0RhdGFMaXN0XzEEAAAAAQAFAAAAAgAFAAAABAA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6269888771"/>
  <p:tag name="EMPOWERCHARTSPROPERTIES_SLOT" val="B"/>
  <p:tag name="RUNTIME_ID" val="7b762002-77d3-415c-896a-995cf38218d6"/>
</p:tagLst>
</file>

<file path=ppt/tags/tag86.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MA////////////////////////////////////////////////////////////////////////////////////////////////////////////////////////////////////////////////////////////////////////////////////////////////////////////////////////////////////////////////////////////////////////////////////////////////////////////////////////////////////////////////////////////////////////////////////////////////////////////////////////////////////////////////////////////////////////////////////////////////////////////////////////AgABAP///////wUAAAACABAAC7SH2iThnPtIp0Ujr8MrlWgEAAAAAAADAAAAAAADAAAABAADAAIA////////BQAAAAMAEAALQnjvv9ruaEqkz6ew8dD8HwQAAAABAAMAAAAEAAMAAAABAAMAAAAAAP///////wQAAQD///////8FAAAABAAQAAuNaA5B/DFWSatrMBjaQmD7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IfaJOGc+0inRSOvwyuVaAREYXRhAAUAAAAAAk5hbWUADQAAAExpbmtEYXRhTGlzdAAQVmVyc2lvbgAAAAAACUxhc3RXcml0ZQDpWta9kQEAAAABAP////9hAGEAAAAFX2lkABAAAAAEQnjvv9ruaEqkz6ew8dD8HwREYXRhAAUAAAAAAk5hbWUADQAAAExpbmtEYXRhTGlzdAAQVmVyc2lvbgABAAAACUxhc3RXcml0ZQDsWta9kQEAAAACAP////9wAHAAAAAFX2lkABAAAAAEjWgOQfwxVkmrazAY2kJg+wNEYXRhABYAAAACUGVyc29uYWxJZAABAAAAAAACTmFtZQALAAAAUGVyc29uYWxJZAAQVmVyc2lvbgAAAAAACUxhc3RXcml0ZQAIW9a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EAIAH///////////////8AAA7///////8FAAAABAD///////////////////////////////////////////////////////////////////////////////////////////////////////////////////////////////////////////////////////////////////////////////////////////////////////////////////////////////////////////////////////////////////////////////////////////////////////////////////////////////////////////////////////////////////////////////////////////////////////////////////////////////////////////////////////////////////////////////////////////////////////////////////////8CAAEBAwAAAAIA////////DgAGTGlua0RhdGFMaXN0XzAEAAAAAAAFAAAAAAAFAAAAAwADAAIBAwAAAAMA////////DgAGTGlua0RhdGFMaXN0XzEEAAAAAQAFAAAAAgAFAAAABAAFAAAAAA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6275520262"/>
  <p:tag name="EMPOWERCHARTSPROPERTIES_SLOT" val="B"/>
  <p:tag name="RUNTIME_ID" val="ca4f408e-5b5b-4706-bdc6-86b631029284"/>
</p:tagLst>
</file>

<file path=ppt/tags/tag87.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3vcYlKs8qpOsou5F9JbL9wEAAAAAAADAAAAAAADAAAAAwADAAIA////////BQAAAAMAEAALSua8ozry7UmUHip3wW7T/gQAAAABAAMAAAACAAMAAAAEAAMAAAAAAP///////wQAAQD///////8FAAAABAAQAAuAbRO35YTBT6mgPvr8odr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9xiUqzyqk6yi7kX0lsv3AREYXRhAAUAAAAAAk5hbWUADQAAAExpbmtEYXRhTGlzdAAQVmVyc2lvbgABAAAACUxhc3RXcml0ZQBeWta9kQEAAAABAP////9hAGEAAAAFX2lkABAAAAAESua8ozry7UmUHip3wW7T/gREYXRhAAUAAAAAAk5hbWUADQAAAExpbmtEYXRhTGlzdAAQVmVyc2lvbgAAAAAACUxhc3RXcml0ZQBcWta9kQEAAAACAP////9wAHAAAAAFX2lkABAAAAAEgG0Tt+WEwU+poD76/KHaxgNEYXRhABYAAAACUGVyc29uYWxJZAABAAAAAAACTmFtZQALAAAAUGVyc29uYWxJZAAQVmVyc2lvbgAAAAAACUxhc3RXcml0ZQB1Wta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6274035047"/>
  <p:tag name="EMPOWERCHARTSPROPERTIES_SLOT" val="B"/>
  <p:tag name="RUNTIME_ID" val="0ff20ac9-32ab-4428-9c7d-19bc341fd147"/>
</p:tagLst>
</file>

<file path=ppt/tags/tag88.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BAD///////////////////////////////////////////////////////////////////////////////////////////////////////////////////////////////////////////////////////////////////////////////////////////////////////////////////////////////////////////////////////////////////////////////////////////////////////////////////////////////////////////////////////////////////////////////////////////////////////////////////////////////////////////////////////////////////////////////////////////////8BACAA////////////////AAAO////////AwAAAAMA////////////////////////////////////////////////////////////////////////////////////////////////////////////////////////////////////////////////////////////////////////////////////////////////////////////////////////////////////////////////////////////////////////////////////////////////////////////////////////////////////////////////////////////////////////////////////////////////////////////////////////////////////////////////////////////////////////////////////////////////////////////////////////AgABAP///////wUAAAACABAAC8uMTm7/zkxMmo55NKVl1FUEAAAAAAADAAAABAADAAAAAwADAAEA////////BQAAAAMAEAALjbNClh4knUu0BWDiZKBFPgQAAAABAAMAAAACAAMAAAABAAQAAgD///////8FAAAABAAQAAugmwgRuZvLTYx5TkkoyY/R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4xObv/OTEyajnk0pWXUVQREYXRhAAUAAAAAAk5hbWUADQAAAExpbmtEYXRhTGlzdAAQVmVyc2lvbgAAAAAACUxhc3RXcml0ZQChWta9kQEAAAABAP////9hAGEAAAAFX2lkABAAAAAEjbNClh4knUu0BWDiZKBFPgREYXRhAAUAAAAAAk5hbWUADQAAAExpbmtEYXRhTGlzdAAQVmVyc2lvbgABAAAACUxhc3RXcml0ZQCjWta9kQEAAAACAP////9wAHAAAAAFX2lkABAAAAAEoJsIEbmby02MeU5JKMmP0QNEYXRhABYAAAACUGVyc29uYWxJZAABAAAAAAACTmFtZQALAAAAUGVyc29uYWxJZAAQVmVyc2lvbgAAAAAACUxhc3RXcml0ZQC6Wta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6274763341"/>
  <p:tag name="EMPOWERCHARTSPROPERTIES_SLOT" val="B"/>
  <p:tag name="RUNTIME_ID" val="429e7f29-751f-4a26-878a-0ff88876a7c2"/>
</p:tagLst>
</file>

<file path=ppt/tags/tag89.xml><?xml version="1.0" encoding="utf-8"?>
<p:tagLst xmlns:a="http://schemas.openxmlformats.org/drawingml/2006/main" xmlns:r="http://schemas.openxmlformats.org/officeDocument/2006/relationships" xmlns:p="http://schemas.openxmlformats.org/presentationml/2006/main">
  <p:tag name="MIO_CONTENTTAG" val="oC0KsNfwHk6hyFDosmvC75Nd9gYH2BlDv1Vl16m/k04="/>
  <p:tag name="MIO_DBID" val="b8fcb12d-af03-49eb-9f79-bb019be99e1e"/>
  <p:tag name="MIO_EKGUID" val="9be281f7-6055-42d0-a41d-3cbaba26574f"/>
  <p:tag name="MIO_GUID" val="52c954f6-a880-4fcb-90c0-076bbb36f86d"/>
  <p:tag name="MIO_LASTDOWNLOADED" val="06.09.2024 08:43:16"/>
  <p:tag name="MIO_LASTEDITORNAME" val="Georgina DEMO"/>
  <p:tag name="MIO_OBJECTNAME" val="PC Tool overview – empower® express slides &amp; charts"/>
  <p:tag name="MIO_UPDATE" val="True"/>
  <p:tag name="MIO_VERSION" val="05.09.2024 19:30:09"/>
</p:tagLst>
</file>

<file path=ppt/tags/tag9.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wUA/gsAAAAAAAAAAAAAIAD///////////////8AAAD///////////////8DAAAAAgD///////8DAAAAAgD///////8DAAAAAgD///////////////////////////////////////////////////////////////////////////////////////////////////////////////////////////////////////////////////////////////////////////////////////////////////////////////////////////////////////////////////////////////////////////////////////////////////////////////////////////////////////////////////////////////////////////////////////////////////////////////////////////////////////////////////////////////////////////////8BACAA////////////////AAAO////////AwAAAAMA////////////////////////////////////////////////////////////////////////////////////////////////////////////////////////////////////////////////////////////////////////////////////////////////////////////////////////////////////////////////////////////////////////////////////////////////////////////////////////////////////////////////////////////////////////////////////////////////////////////////////////////////////////////////////////////////////////////////////////////////////////////////////////AgADAP///////wUAAAACABAAC+s4AicNM31JqaRUdX+geQUEAAAAAAADAAAAAAADAAAABAADAAAAAAD///////8DAAAAAAD///////8DAAEA////////BQAAAAMAEAAL2v5hrC1Bf0O03o2AQ7UVUwQAAAABAAMAAAAEAAMAAAABAAQAAQD///////8FAAAABAAQAAtSH4tqPAbfT7DVJ42ZjUuG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6zgCJw0zfUmppFR1f6B5BQREYXRhAAUAAAAAAk5hbWUADQAAAExpbmtEYXRhTGlzdAAQVmVyc2lvbgABAAAACUxhc3RXcml0ZQC2bOHDjwEAAAABAP////9hAGEAAAAFX2lkABAAAAAE2v5hrC1Bf0O03o2AQ7UVUwREYXRhAAUAAAAAAk5hbWUADQAAAExpbmtEYXRhTGlzdAAQVmVyc2lvbgAAAAAACUxhc3RXcml0ZQCUbOHDjwEAAAACAP////9wAHAAAAAFX2lkABAAAAAEUh+LajwG30+w1SeNmY1LhgNEYXRhABYAAAACUGVyc29uYWxJZAABAAAAAAACTmFtZQALAAAAUGVyc29uYWxJZAAQVmVyc2lvbgAAAAAACUxhc3RXcml0ZQDNbOHD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CAP///////wUAAAACAP///////wUAAAAEAP///////////////////////////////////////////////////////////////////////////////////////////////////////////////////////////////////////////////////////////////////////////////////////////////////////////////////////////////////////////////////////////////////////////////////////////////////////////////////////////////////////////////////////////////////////////////////////////////////////////////////////////////////////////////////////////////wEAIAH///////////////8AAA7///////8FAAAABAD///////////////////////////////////////////////////////////////////////////////////////////////////////////////////////////////////////////////////////////////////////////////////////////////////////////////////////////////////////////////////////////////////////////////////////////////////////////////////////////////////////////////////////////////////////////////////////////////////////////////////////////////////////////////////////////////////////////////////////////////////////////////////////8CAAMBAwAAAAIA////////DgAGTGlua0RhdGFMaXN0XzEEAAAAAAAFAAAAAwAFAAAABAAFAAAAAAAFAAAABAAFAAAAAAAFAAAABAADAAEBAwAAAAMA////////DgAGTGlua0RhdGFMaXN0XzAEAAAAAQAFAAAAAAAFAAAAAgAEAAQBAwAAAAQA////////DAAGUGVyc29uYWxJZF8wBAAAAAIABQAAAAIABQAAAAEABQAAAAI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525750816958870"/>
  <p:tag name="EMPOWERCHARTSPROPERTIES_SLOT" val="B"/>
  <p:tag name="RUNTIME_ID" val="85dcdc83-010f-41ae-a9c9-ddd4d2883920"/>
</p:tagLst>
</file>

<file path=ppt/tags/tag90.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MA////////////////////////////////////////////////////////////////////////////////////////////////////////////////////////////////////////////////////////////////////////////////////////////////////////////////////////////////////////////////////////////////////////////////////////////////////////////////////////////////////////////////////////////////////////////////////////////////////////////////////////////////////////////////////////////////////////////////////////////////////////////////////////AgABAP///////wUAAAACABAACwvzfIMikrZCvqpD0mmBeNMEAAAAAAADAAAAAAADAAAABAADAAEA////////BQAAAAMAEAAL6/CkyFVWE0WwwY5Uy6uDKgQAAAABAAMAAAAEAAMAAAABAAQAAQD///////8FAAAABAAQAAuD5kfEYXZGR621FGEqxvJG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N8gyKStkK+qkPSaYF40wREYXRhAAUAAAAAAk5hbWUADQAAAExpbmtEYXRhTGlzdAAQVmVyc2lvbgAAAAAACUxhc3RXcml0ZQASpbDCkQEAAAABAP////9hAGEAAAAFX2lkABAAAAAE6/CkyFVWE0WwwY5Uy6uDKgREYXRhAAUAAAAAAk5hbWUADQAAAExpbmtEYXRhTGlzdAAQVmVyc2lvbgABAAAACUxhc3RXcml0ZQAWpbDCkQEAAAACAP////9wAHAAAAAFX2lkABAAAAAEg+ZHxGF2RkettRRhKsbyRgNEYXRhABYAAAACUGVyc29uYWxJZAABAAAAAAACTmFtZQALAAAAUGVyc29uYWxJZAAQVmVyc2lvbgAAAAAACUxhc3RXcml0ZQAvpbD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1450422467653"/>
  <p:tag name="EMPOWERCHARTSPROPERTIES_SLOT" val="B"/>
  <p:tag name="RUNTIME_ID" val="ae5afdd0-bed2-4ab7-b670-e4a12cd0f209"/>
</p:tagLst>
</file>

<file path=ppt/tags/tag91.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wUA5gsAAAAAAAAAAAAAIAD///////////////8AAAD///////////////8DAAAABAD///////8DAAAABAD///////8DAAAABAD///////8DAAAABAD///////////////////////////////////////////////////////////////////////////////////////////////////////////////////////////////////////////////////////////////////////////////////////////////////////////////////////////////////////////////////////////////////////////////////////////////////////////////////////////////////////////////////////////////////////////////////////////////////////////////////////////////////////////////////////////////8BACAA////////////////AAAO////////AwAAAAMA////////////////////////////////////////////////////////////////////////////////////////////////////////////////////////////////////////////////////////////////////////////////////////////////////////////////////////////////////////////////////////////////////////////////////////////////////////////////////////////////////////////////////////////////////////////////////////////////////////////////////////////////////////////////////////////////////////////////////////////////////////////////////////AgABAP///////wUAAAACABAAC6zw+BbJH9ZFo1TqwmYBtUUEAAAAAAADAAAABAADAAAAAwADAAIA////////BQAAAAMAEAAL0/Bb5b8E70+MrDNHuV4QLgQAAAABAAMAAAACAAMAAAABAAMAAAAEAP///////wQABAD///////8FAAAABAAQAAv1+iYEFzBlTKisGsKCEU9EBAAAAAIAAwAAAAAAAwAAAAIAAwAAAAAAAwAAAAM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PD4Fskf1kWjVOrCZgG1RQREYXRhAAUAAAAAAk5hbWUADQAAAExpbmtEYXRhTGlzdAAQVmVyc2lvbgABAAAACUxhc3RXcml0ZQArobDCkQEAAAABAP////9hAGEAAAAFX2lkABAAAAAE0/Bb5b8E70+MrDNHuV4QLgREYXRhAAUAAAAAAk5hbWUADQAAAExpbmtEYXRhTGlzdAAQVmVyc2lvbgAAAAAACUxhc3RXcml0ZQAqobDCkQEAAAACAP////9wAHAAAAAFX2lkABAAAAAE9fomBBcwZUyorBrCghFPRANEYXRhABYAAAACUGVyc29uYWxJZAABAAAAAAACTmFtZQALAAAAUGVyc29uYWxJZAAQVmVyc2lvbgAAAAAACUxhc3RXcml0ZQBAobD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1450412362206"/>
  <p:tag name="EMPOWERCHARTSPROPERTIES_SLOT" val="B"/>
  <p:tag name="RUNTIME_ID" val="523b27d4-27fe-4f79-8218-230a43c8e134"/>
</p:tagLst>
</file>

<file path=ppt/tags/tag92.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xsGUADzhTFEu17u9wi60TUEAAAAAAADAAAAAAADAAAABAADAAEA////////BQAAAAMAEAALCCk5wGFqaEySOkswYRWLAgQAAAABAAMAAAAEAAMAAAABAAQAAQD///////8FAAAABAAQAAtyloZUafZmQLx1RByzz2iU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GwZQAPOFMUS7Xu73CLrRNQREYXRhAAUAAAAAAk5hbWUADQAAAExpbmtEYXRhTGlzdAAQVmVyc2lvbgABAAAACUxhc3RXcml0ZQB/obDCkQEAAAABAP////9hAGEAAAAFX2lkABAAAAAECCk5wGFqaEySOkswYRWLAgREYXRhAAUAAAAAAk5hbWUADQAAAExpbmtEYXRhTGlzdAAQVmVyc2lvbgAAAAAACUxhc3RXcml0ZQBtobDCkQEAAAACAP////9wAHAAAAAFX2lkABAAAAAEcpaGVGn2ZkC8dUQcs89olANEYXRhABYAAAACUGVyc29uYWxJZAABAAAAAAACTmFtZQALAAAAUGVyc29uYWxJZAAQVmVyc2lvbgAAAAAACUxhc3RXcml0ZQCpobD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1450413440435"/>
  <p:tag name="EMPOWERCHARTSPROPERTIES_SLOT" val="B"/>
  <p:tag name="RUNTIME_ID" val="8b188a33-35ae-4c87-a38f-c86baeca7b18"/>
</p:tagLst>
</file>

<file path=ppt/tags/tag93.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BAD///////////////////////////////////////////////////////////////////////////////////////////////////////////////////////////////////////////////////////////////////////////////////////////////////////////////////////////////////////////////////////////////////////////////////////////////////////////////////////////////////////////////////////////////////////////////////////////////////////////////////////////////////////////////////////////////////////////////////////////////8BACAA////////////////AAAO////////AwAAAAMA////////////////////////////////////////////////////////////////////////////////////////////////////////////////////////////////////////////////////////////////////////////////////////////////////////////////////////////////////////////////////////////////////////////////////////////////////////////////////////////////////////////////////////////////////////////////////////////////////////////////////////////////////////////////////////////////////////////////////////////////////////////////////////AgABAP///////wUAAAACABAACwzdmCsTYAFOpH+aRQk0hF0EAAAAAAADAAAABAADAAAAAwADAAIA////////BQAAAAMAEAALvXuW976VCEaOubugpuRGFQQAAAABAAMAAAACAAMAAAABAAMAAAAEAP///////wQAAgD///////8FAAAABAAQAAv97owb95uQR5l2b7kxnPYJ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N2YKxNgAU6kf5pFCTSEXQREYXRhAAUAAAAAAk5hbWUADQAAAExpbmtEYXRhTGlzdAAQVmVyc2lvbgAAAAAACUxhc3RXcml0ZQCoZd7CkQEAAAABAP////9hAGEAAAAFX2lkABAAAAAEvXuW976VCEaOubugpuRGFQREYXRhAAUAAAAAAk5hbWUADQAAAExpbmtEYXRhTGlzdAAQVmVyc2lvbgABAAAACUxhc3RXcml0ZQCoZd7CkQEAAAACAP////9wAHAAAAAFX2lkABAAAAAE/e6MG/ebkEeZdm+5MZz2CQNEYXRhABYAAAACUGVyc29uYWxJZAABAAAAAAACTmFtZQALAAAAUGVyc29uYWxJZAAQVmVyc2lvbgAAAAAACUxhc3RXcml0ZQDLZd7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1480406773099"/>
  <p:tag name="EMPOWERCHARTSPROPERTIES_SLOT" val="B"/>
  <p:tag name="RUNTIME_ID" val="9c177198-8537-40fd-88bb-9e4680562345"/>
</p:tagLst>
</file>

<file path=ppt/tags/tag94.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wUAFgwAAAAAAAAAAAAAIAD///////////////8AAAD///////////////8DAAAAAgD///////////////////////////////////////////////////////////////////////////////////////////////////////////////////////////////////////////////////////////////////////////////////////////////////////////////////////////////////////////////////////////////////////////////////////////////////////////////////////////////////////////////////////////////////////////////////////////////////////////////////////////////////////////////////////////////////////////////////////////////////////////////8BACAA////////////////AAAO////////AwAAAAQA////////////////////////////////////////////////////////////////////////////////////////////////////////////////////////////////////////////////////////////////////////////////////////////////////////////////////////////////////////////////////////////////////////////////////////////////////////////////////////////////////////////////////////////////////////////////////////////////////////////////////////////////////////////////////////////////////////////////////////////////////////////////////////AgABAP///////wUAAAACABAAC+bvsjwuOT1BgoG8umZXhSQEAAAAAAADAAAAAAADAAAAAwADAAEA////////BQAAAAMAEAALiiJhX4QbUE6tFPB2DcFFYQQAAAABAAMAAAACAAMAAAAEAAQAAQD///////8FAAAABAAQAAux6MWqf3tzTKSxCIkRpuIa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5u+yPC45PUGCgby6ZleFJAREYXRhAAUAAAAAAk5hbWUADQAAAExpbmtEYXRhTGlzdAAQVmVyc2lvbgAAAAAACUxhc3RXcml0ZQDrkt7CkQEAAAABAP////9hAGEAAAAFX2lkABAAAAAEiiJhX4QbUE6tFPB2DcFFYQREYXRhAAUAAAAAAk5hbWUADQAAAExpbmtEYXRhTGlzdAAQVmVyc2lvbgABAAAACUxhc3RXcml0ZQD1kt7CkQEAAAACAP////9wAHAAAAAFX2lkABAAAAAEsejFqn97c0yksQiJEabiGgNEYXRhABYAAAACUGVyc29uYWxJZAABAAAAAAACTmFtZQALAAAAUGVyc29uYWxJZAAQVmVyc2lvbgAAAAAACUxhc3RXcml0ZQAVk97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1480522606762"/>
  <p:tag name="EMPOWERCHARTSPROPERTIES_SLOT" val="B"/>
  <p:tag name="RUNTIME_ID" val="4e69c639-7e64-4cb7-a448-b47d9af887ce"/>
</p:tagLst>
</file>

<file path=ppt/tags/tag95.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gsAAAAAAAAAAAAAIAD///////////////8AAAD///////////////8DAAAAAgD///////8DAAAAAgD///////////////////////////////////////////////////////////////////////////////////////////////////////////////////////////////////////////////////////////////////////////////////////////////////////////////////////////////////////////////////////////////////////////////////////////////////////////////////////////////////////////////////////////////////////////////////////////////////////////////////////////////////////////////////////////////////////////////////////////////8BACAA////////////////AAAO////////AwAAAAMA////////////////////////////////////////////////////////////////////////////////////////////////////////////////////////////////////////////////////////////////////////////////////////////////////////////////////////////////////////////////////////////////////////////////////////////////////////////////////////////////////////////////////////////////////////////////////////////////////////////////////////////////////////////////////////////////////////////////////////////////////////////////////////AgACAP///////wUAAAACABAACzz3xgzCWLREvrDMUPfpbtUEAAAAAAADAAAAAAADAAAABAADAAAAAAADAAAAAwADAAIA////////BQAAAAMAEAALG+arw/7XhUCMFa+LopPrfQQAAAABAAMAAAAEAAMAAAABAAMAAAACAP///////wQAAQD///////8FAAAABAAQAAuQIXO/65I0Tqxve7td1YhL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PfGDMJYtES+sMxQ9+lu1QREYXRhAAUAAAAAAk5hbWUADQAAAExpbmtEYXRhTGlzdAAQVmVyc2lvbgAAAAAACUxhc3RXcml0ZQDhobDCkQEAAAABAP////9hAGEAAAAFX2lkABAAAAAEG+arw/7XhUCMFa+LopPrfQREYXRhAAUAAAAAAk5hbWUADQAAAExpbmtEYXRhTGlzdAAQVmVyc2lvbgABAAAACUxhc3RXcml0ZQDiobDCkQEAAAACAP////9wAHAAAAAFX2lkABAAAAAEkCFzv+uSNE6sb3u7XdWISwNEYXRhABYAAAACUGVyc29uYWxJZAABAAAAAAACTmFtZQALAAAAUGVyc29uYWxJZAAQVmVyc2lvbgAAAAAACUxhc3RXcml0ZQD2obD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EAP///////////////////////////////////////////////////////////////////////////////////////////////////////////////////////////////////////////////////////////////////////////////////////////////////////////////////////////////////////////////////////////////////////////////////////////////////////////////////////////////////////////////////////////////////////////////////////////////////////////////////////////////////////////////////////////////////////////////wEAIAH///////////////8AAA7///////8FAAAABAD///////////////////////////////////////////////////////////////////////////////////////////////////////////////////////////////////////////////////////////////////////////////////////////////////////////////////////////////////////////////////////////////////////////////////////////////////////////////////////////////////////////////////////////////////////////////////////////////////////////////////////////////////////////////////////////////////////////////////////////////////////////////////////8CAAIBAwAAAAIA////////DgAGTGlua0RhdGFMaXN0XzAEAAAAAAAFAAAAAAAFAAAAAwAFAAAAAAAFAAAAAwADAAIBAwAAAAMA////////DgAGTGlua0RhdGFMaXN0XzEEAAAAAQAFAAAAAgAFAAAABAAFAAAAAgAFAAAABAAEAAMBAwAAAAQA////////DAAGUGVyc29uYWxJZF8wBAAAAAIABQAAAAMABQAAAAE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1450414180680"/>
  <p:tag name="EMPOWERCHARTSPROPERTIES_SLOT" val="B"/>
  <p:tag name="RUNTIME_ID" val="9abe8465-b795-4e57-b867-7edbc7674b0d"/>
</p:tagLst>
</file>

<file path=ppt/tags/tag96.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gD///////////////////////////////////////////////////////////////////////////////////////////////////////////////////////////////////////////////////////////////////////////////////////////////////////////////////////////////////////////////////////////////////////////////////////////////////////////////////////////////////////////////////////////////////////////////////////////////////////////////////////////////////////////////////////////////////////////////8BACAA////////////////AAAO////////AwAAAAQA////////////////////////////////////////////////////////////////////////////////////////////////////////////////////////////////////////////////////////////////////////////////////////////////////////////////////////////////////////////////////////////////////////////////////////////////////////////////////////////////////////////////////////////////////////////////////////////////////////////////////////////////////////////////////////////////////////////////////////////////////////////////////////AgADAP///////wUAAAACABAAC6kJ6wA4ebJDlrzSCV5HRG4EAAAAAAADAAAAAAADAAAAAwADAAAAAAADAAAABAADAAAAAAADAAAABAADAAEA////////BQAAAAMAEAALscV+uCSGuESJvCB8XUHDIgQAAAABAAMAAAACAAMAAAAEAAQAAwD///////8FAAAABAAQAAvNTFnO/EaUR7+mlBCUAfE8BAAAAAIAAwAAAAMAAwAAAAEAAwAAAAI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QnrADh5skOWvNIJXkdEbgREYXRhAAUAAAAAAk5hbWUADQAAAExpbmtEYXRhTGlzdAAQVmVyc2lvbgAAAAAACUxhc3RXcml0ZQAgorDCkQEAAAABAP////9hAGEAAAAFX2lkABAAAAAEscV+uCSGuESJvCB8XUHDIgREYXRhAAUAAAAAAk5hbWUADQAAAExpbmtEYXRhTGlzdAAQVmVyc2lvbgABAAAACUxhc3RXcml0ZQAiorDCkQEAAAACAP////9wAHAAAAAFX2lkABAAAAAEzUxZzvxGlEe/ppQQlAHxPANEYXRhABYAAAACUGVyc29uYWxJZAABAAAAAAACTmFtZQALAAAAUGVyc29uYWxJZAAQVmVyc2lvbgAAAAAACUxhc3RXcml0ZQA3orD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1450414844062"/>
  <p:tag name="EMPOWERCHARTSPROPERTIES_SLOT" val="B"/>
  <p:tag name="RUNTIME_ID" val="becb34c8-2da6-4929-a2e0-f3ec0ff5af02"/>
</p:tagLst>
</file>

<file path=ppt/tags/tag97.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gsAAAAAAAAAAAAAIAD///////////////8AAAD///////////////8DAAAAAgD///////8DAAAABAD///////////////////////////////////////////////////////////////////////////////////////////////////////////////////////////////////////////////////////////////////////////////////////////////////////////////////////////////////////////////////////////////////////////////////////////////////////////////////////////////////////////////////////////////////////////////////////////////////////////////////////////////////////////////////////////////////////////////////////////////8BACAA////////////////AAAO////////AwAAAAMA////////////////////////////////////////////////////////////////////////////////////////////////////////////////////////////////////////////////////////////////////////////////////////////////////////////////////////////////////////////////////////////////////////////////////////////////////////////////////////////////////////////////////////////////////////////////////////////////////////////////////////////////////////////////////////////////////////////////////////////////////////////////////////AgABAP///////wUAAAACABAAC/y/eAqIZ3JKo5YkwLBZ8TsEAAAAAAADAAAAAAADAAAABAADAAIA////////BQAAAAMAEAALcAow6bwjLk+WTh3Ud7Jc/wQAAAABAAMAAAAEAAMAAAABAAMAAAAEAP///////wQAAgD///////8FAAAABAAQAAtVATuwD9QqTKK2skbccjeQ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94CohnckqjliTAsFnxOwREYXRhAAUAAAAAAk5hbWUADQAAAExpbmtEYXRhTGlzdAAQVmVyc2lvbgAAAAAACUxhc3RXcml0ZQBDd9W9kQEAAAABAP////9hAGEAAAAFX2lkABAAAAAEcAow6bwjLk+WTh3Ud7Jc/wREYXRhAAUAAAAAAk5hbWUADQAAAExpbmtEYXRhTGlzdAAQVmVyc2lvbgABAAAACUxhc3RXcml0ZQBEd9W9kQEAAAACAP////9wAHAAAAAFX2lkABAAAAAEVQE7sA/UKkyitrJG3HI3kANEYXRhABYAAAACUGVyc29uYWxJZAABAAAAAAACTmFtZQALAAAAUGVyc29uYWxJZAAQVmVyc2lvbgAAAAAACUxhc3RXcml0ZQBld9W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EAP///////////////////////////////////////////////////////////////////////////////////////////////////////////////////////////////////////////////////////////////////////////////////////////////////////////////////////////////////////////////////////////////////////////////////////////////////////////////////////////////////////////////////////////////////////////////////////////////////////////////////////////////////////////////////////////////////////////////wEAIAH///////////////8AAA7///////8FAAAABAD///////////////////////////////////////////////////////////////////////////////////////////////////////////////////////////////////////////////////////////////////////////////////////////////////////////////////////////////////////////////////////////////////////////////////////////////////////////////////////////////////////////////////////////////////////////////////////////////////////////////////////////////////////////////////////////////////////////////////////////////////////////////////////8CAAEBAwAAAAIA////////DgAGTGlua0RhdGFMaXN0XzAEAAAAAAAFAAAAAAAFAAAAAwADAAIBAwAAAAMA////////DgAGTGlua0RhdGFMaXN0XzEEAAAAAQAFAAAAAgAFAAAABAAFAAAAAAAFAAAABAAEAAMBAwAAAAQA////////DAAGUGVyc29uYWxJZF8wBAAAAAIABQAAAAMABQAAAAE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5692807926"/>
  <p:tag name="EMPOWERCHARTSPROPERTIES_SLOT" val="B"/>
  <p:tag name="MIO_CONTENTTAG" val="TndV2LRN10qUHt3hv31FSQ=="/>
  <p:tag name="MIO_DBID" val="B8FCB12D-AF03-49EB-9F79-BB019BE99E1E"/>
  <p:tag name="MIO_EK" val="3965"/>
  <p:tag name="MIO_EKGUID" val="0a5f4d0e-927c-4d1f-91c5-9df45d4f4484"/>
  <p:tag name="MIO_GUID" val="a54fe37f-e726-483f-bdc8-8a6ab1a7e460"/>
  <p:tag name="MIO_LASTDOWNLOADED" val="04.09.2024 17:23:52.689"/>
  <p:tag name="MIO_LASTEDITORNAME" val="Georgina DEMO"/>
  <p:tag name="MIO_OBJECTNAME" val="_Footnotes - full width"/>
  <p:tag name="MIO_SHAPETYPES_TEXTELEMENT" val="MIO_FOOTNOTE"/>
  <p:tag name="MIO_SKIP_CDCHECK" val="True"/>
  <p:tag name="MIO_UPDATE" val="True"/>
  <p:tag name="MIO_VERSION" val="21.06.2024 13:11:00"/>
  <p:tag name="RUNTIME_ID" val="deaf5a15-03f1-4327-9456-e9c387498b5a"/>
</p:tagLst>
</file>

<file path=ppt/tags/tag98.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gD///////8DAAAAAgD///////////////////////////////////////////////////////////////////////////////////////////////////////////////////////////////////////////////////////////////////////////////////////////////////////////////////////////////////////////////////////////////////////////////////////////////////////////////////////////////////////////////////////////////////////////////////////////////////////////////////////////////////////////////////////////////////////////////8BACAA////////////////AAAO////////AwAAAAMA////////////////////////////////////////////////////////////////////////////////////////////////////////////////////////////////////////////////////////////////////////////////////////////////////////////////////////////////////////////////////////////////////////////////////////////////////////////////////////////////////////////////////////////////////////////////////////////////////////////////////////////////////////////////////////////////////////////////////////////////////////////////////////AgADAP///////wUAAAACABAAC4ZkFxRERwJAjzK6lvKP9JwEAAAAAAADAAAAAAADAAAABAADAAAAAAD///////8DAAAAAAD///////8DAAEA////////BQAAAAMAEAAL7Xfng5PnIE+kzidTYB5AhgQAAAABAAMAAAAEAAMAAAABAAQAAQD///////8FAAAABAAQAAu4myxP0aqeRaOhvIJCQFH+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mQXFERHAkCPMrqW8o/0nAREYXRhAAUAAAAAAk5hbWUADQAAAExpbmtEYXRhTGlzdAAQVmVyc2lvbgAAAAAACUxhc3RXcml0ZQDpdtW9kQEAAAABAP////9hAGEAAAAFX2lkABAAAAAE7Xfng5PnIE+kzidTYB5AhgREYXRhAAUAAAAAAk5hbWUADQAAAExpbmtEYXRhTGlzdAAQVmVyc2lvbgABAAAACUxhc3RXcml0ZQDudtW9kQEAAAACAP////9wAHAAAAAFX2lkABAAAAAEuJssT9GqnkWjobyCQkBR/gNEYXRhABYAAAACUGVyc29uYWxJZAABAAAAAAACTmFtZQALAAAAUGVyc29uYWxJZAAQVmVyc2lvbgAAAAAACUxhc3RXcml0ZQAId9W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EAIAH///////////////8AAA7///////8FAAAABAD///////////////////////////////////////////////////////////////////////////////////////////////////////////////////////////////////////////////////////////////////////////////////////////////////////////////////////////////////////////////////////////////////////////////////////////////////////////////////////////////////////////////////////////////////////////////////////////////////////////////////////////////////////////////////////////////////////////////////////////////////////////////////////8CAAMBAwAAAAIA////////DgAGTGlua0RhdGFMaXN0XzAEAAAAAAAFAAAAAAAFAAAAAwAFAAAAAAAFAAAABAAFAAAAAAD///////8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0635691820645"/>
  <p:tag name="EMPOWERCHARTSPROPERTIES_SLOT" val="B"/>
  <p:tag name="RUNTIME_ID" val="d35b664f-229d-4ba8-b470-f6b78f1e0b9e"/>
</p:tagLst>
</file>

<file path=ppt/tags/tag99.xml><?xml version="1.0" encoding="utf-8"?>
<p:tagLst xmlns:a="http://schemas.openxmlformats.org/drawingml/2006/main" xmlns:r="http://schemas.openxmlformats.org/officeDocument/2006/relationships" xmlns:p="http://schemas.openxmlformats.org/presentationml/2006/main">
  <p:tag name="DOWN_MIGRATION_INITIAL_LAYOUT_REQUIRED" val="9.2.99"/>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79k2SAzioJGvaGcmh7HrGQEAAAAAAADAAAAAAADAAAAAwADAAIA////////BQAAAAMAEAALqWWcwUARK0+hW5GQwRQvDAQAAAABAAMAAAACAAMAAAAEAAMAAAAAAP///////wQAAQD///////8FAAAABAAQAAtpmJ7B2mUtRKIAtzn5J8Pq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2TZIDOKgka9oZyaHsesZAREYXRhAAUAAAAAAk5hbWUADQAAAExpbmtEYXRhTGlzdAAQVmVyc2lvbgAAAAAACUxhc3RXcml0ZQDuoLDCkQEAAAABAP////9hAGEAAAAFX2lkABAAAAAEqWWcwUARK0+hW5GQwRQvDAREYXRhAAUAAAAAAk5hbWUADQAAAExpbmtEYXRhTGlzdAAQVmVyc2lvbgABAAAACUxhc3RXcml0ZQDuoLDCkQEAAAACAP////9wAHAAAAAFX2lkABAAAAAEaZiewdplLUSiALc5+SfD6gNEYXRhABYAAAACUGVyc29uYWxJZAABAAAAAAACTmFtZQALAAAAUGVyc29uYWxJZAAQVmVyc2lvbgAAAAAACUxhc3RXcml0ZQADobD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B_LENGTH" val="24576"/>
  <p:tag name="EMPOWERCHARTSPROPERTIES_LASTWRITEDATE" val="638611450411765168"/>
  <p:tag name="EMPOWERCHARTSPROPERTIES_SLOT" val="B"/>
  <p:tag name="RUNTIME_ID" val="109ab6ee-1b88-4f35-9a2f-ccdeff2e9a76"/>
</p:tagLst>
</file>

<file path=ppt/theme/theme1.xml><?xml version="1.0" encoding="utf-8"?>
<a:theme xmlns:a="http://schemas.openxmlformats.org/drawingml/2006/main" name="empower express">
  <a:themeElements>
    <a:clrScheme name="Empower">
      <a:dk1>
        <a:srgbClr val="3C3C3C"/>
      </a:dk1>
      <a:lt1>
        <a:sysClr val="window" lastClr="FFFFFF"/>
      </a:lt1>
      <a:dk2>
        <a:srgbClr val="00316C"/>
      </a:dk2>
      <a:lt2>
        <a:srgbClr val="E3E3E3"/>
      </a:lt2>
      <a:accent1>
        <a:srgbClr val="00316C"/>
      </a:accent1>
      <a:accent2>
        <a:srgbClr val="00B8FF"/>
      </a:accent2>
      <a:accent3>
        <a:srgbClr val="538FFF"/>
      </a:accent3>
      <a:accent4>
        <a:srgbClr val="F07900"/>
      </a:accent4>
      <a:accent5>
        <a:srgbClr val="E24F03"/>
      </a:accent5>
      <a:accent6>
        <a:srgbClr val="00BF35"/>
      </a:accent6>
      <a:hlink>
        <a:srgbClr val="00B8FF"/>
      </a:hlink>
      <a:folHlink>
        <a:srgbClr val="66D4FF"/>
      </a:folHlink>
    </a:clrScheme>
    <a:fontScheme name="empower">
      <a:majorFont>
        <a:latin typeface="Segoe UI Semibold"/>
        <a:ea typeface="Segoe UI Semibold"/>
        <a:cs typeface="Segoe UI Semibold"/>
      </a:majorFont>
      <a:minorFont>
        <a:latin typeface="Segoe UI Semilight"/>
        <a:ea typeface="Segoe UI Light"/>
        <a:cs typeface="Segoe UI Light"/>
      </a:minorFont>
    </a:fontScheme>
    <a:fmtScheme name="empower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9525" cap="flat" cmpd="sng" algn="ctr">
          <a:noFill/>
          <a:prstDash val="solid"/>
        </a:ln>
        <a:effectLst/>
      </a:spPr>
      <a:bodyPr lIns="90000" tIns="46800" rIns="90000" bIns="46800" rtlCol="0" anchor="ctr"/>
      <a:lstStyle>
        <a:defPPr algn="ctr" defTabSz="486000">
          <a:lnSpc>
            <a:spcPct val="100000"/>
          </a:lnSpc>
          <a:spcBef>
            <a:spcPts val="200"/>
          </a:spcBef>
          <a:spcAft>
            <a:spcPts val="200"/>
          </a:spcAft>
          <a:defRPr sz="14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lgn="l" rtl="0" eaLnBrk="1" fontAlgn="auto" hangingPunct="1">
          <a:lnSpc>
            <a:spcPct val="100000"/>
          </a:lnSpc>
          <a:spcBef>
            <a:spcPts val="200"/>
          </a:spcBef>
          <a:spcAft>
            <a:spcPts val="200"/>
          </a:spcAft>
          <a:defRPr sz="1400" b="0" i="0" u="none" dirty="0" err="1"/>
        </a:defPPr>
      </a:lstStyle>
    </a:txDef>
  </a:objectDefaults>
  <a:extraClrSchemeLst/>
  <a:custClrLst>
    <a:custClr name="Custom Color 1">
      <a:srgbClr val="335A89"/>
    </a:custClr>
    <a:custClr name="Custom Color 2">
      <a:srgbClr val="33C6FF"/>
    </a:custClr>
    <a:custClr name="Custom Color 3">
      <a:srgbClr val="75A5FF"/>
    </a:custClr>
    <a:custClr name="Custom Color 4">
      <a:srgbClr val="F39433"/>
    </a:custClr>
    <a:custClr name="Custom Color 5">
      <a:srgbClr val="E87235"/>
    </a:custClr>
    <a:custClr name="Custom Color 6">
      <a:srgbClr val="33CC5D"/>
    </a:custClr>
    <a:custClr name="Custom Color 7">
      <a:srgbClr val="C1C1C1"/>
    </a:custClr>
    <a:custClr name="Custom Color 8">
      <a:srgbClr val="002551"/>
    </a:custClr>
    <a:custClr name="Custom Color 9">
      <a:srgbClr val="008ABF"/>
    </a:custClr>
    <a:custClr name="Custom Color 10">
      <a:srgbClr val="0058FD"/>
    </a:custClr>
    <a:custClr name="Custom Color 11">
      <a:srgbClr val="6683A7"/>
    </a:custClr>
    <a:custClr name="Custom Color 12">
      <a:srgbClr val="66D4FF"/>
    </a:custClr>
    <a:custClr name="Custom Color 13">
      <a:srgbClr val="98BCFF"/>
    </a:custClr>
    <a:custClr name="Custom Color 14">
      <a:srgbClr val="F6AF66"/>
    </a:custClr>
    <a:custClr name="Custom Color 15">
      <a:srgbClr val="EE9568"/>
    </a:custClr>
    <a:custClr name="Custom Color 16">
      <a:srgbClr val="66D986"/>
    </a:custClr>
    <a:custClr name="Custom Color 17">
      <a:srgbClr val="D0D0D0"/>
    </a:custClr>
    <a:custClr name="Custom Color 18">
      <a:srgbClr val="001836"/>
    </a:custClr>
    <a:custClr name="Custom Color 19">
      <a:srgbClr val="005C7F"/>
    </a:custClr>
    <a:custClr name="Custom Color 20">
      <a:srgbClr val="003BA9"/>
    </a:custClr>
    <a:custClr name="Custom Color 21">
      <a:srgbClr val="99ADC4"/>
    </a:custClr>
    <a:custClr name="Custom Color 22">
      <a:srgbClr val="99E3FF"/>
    </a:custClr>
    <a:custClr name="Custom Color 23">
      <a:srgbClr val="BAD2FF"/>
    </a:custClr>
    <a:custClr name="Custom Color 24">
      <a:srgbClr val="F9C999"/>
    </a:custClr>
    <a:custClr name="Custom Color 25">
      <a:srgbClr val="F3B99A"/>
    </a:custClr>
    <a:custClr name="Custom Color 26">
      <a:srgbClr val="99E5AE"/>
    </a:custClr>
    <a:custClr name="Custom Color 27">
      <a:srgbClr val="E0E0E0"/>
    </a:custClr>
    <a:custClr name="Custom Color 28">
      <a:srgbClr val="B45B00"/>
    </a:custClr>
    <a:custClr name="Custom Color 29">
      <a:srgbClr val="A93B02"/>
    </a:custClr>
    <a:custClr name="Custom Color 30">
      <a:srgbClr val="008F28"/>
    </a:custClr>
    <a:custClr name="Custom Color 31">
      <a:srgbClr val="CCD6E2"/>
    </a:custClr>
    <a:custClr name="Custom Color 32">
      <a:srgbClr val="CCF1FF"/>
    </a:custClr>
    <a:custClr name="Custom Color 33">
      <a:srgbClr val="DDE9FF"/>
    </a:custClr>
    <a:custClr name="Custom Color 34">
      <a:srgbClr val="FCE4CC"/>
    </a:custClr>
    <a:custClr name="Custom Color 35">
      <a:srgbClr val="F9DCCD"/>
    </a:custClr>
    <a:custClr name="Custom Color 36">
      <a:srgbClr val="CCF2D7"/>
    </a:custClr>
    <a:custClr name="Custom Color 37">
      <a:srgbClr val="EFEFEF"/>
    </a:custClr>
    <a:custClr name="Custom Color 38">
      <a:srgbClr val="783C00"/>
    </a:custClr>
    <a:custClr name="Custom Color 39">
      <a:srgbClr val="712701"/>
    </a:custClr>
    <a:custClr name="Custom Color 40">
      <a:srgbClr val="00601A"/>
    </a:custClr>
    <a:custClr name="Custom Color 41">
      <a:srgbClr val="E5EAF0"/>
    </a:custClr>
    <a:custClr name="Custom Color 42">
      <a:srgbClr val="E5F8FF"/>
    </a:custClr>
    <a:custClr name="Custom Color 43">
      <a:srgbClr val="EDF4FF"/>
    </a:custClr>
    <a:custClr name="Custom Color 44">
      <a:srgbClr val="FDF1E5"/>
    </a:custClr>
    <a:custClr name="Custom Color 45">
      <a:srgbClr val="FCEDE5"/>
    </a:custClr>
    <a:custClr name="Custom Color 46">
      <a:srgbClr val="E5F8EA"/>
    </a:custClr>
    <a:custClr name="Custom Color 47">
      <a:srgbClr val="F7F7F7"/>
    </a:custClr>
    <a:custClr name="Custom Color 48">
      <a:srgbClr val="8A8A8A"/>
    </a:custClr>
    <a:custClr name="Custom Color 49">
      <a:srgbClr val="727272"/>
    </a:custClr>
    <a:custClr name="Custom Color 50">
      <a:srgbClr val="EDFCFF"/>
    </a:custClr>
  </a:custClrLst>
  <a:extLst>
    <a:ext uri="{05A4C25C-085E-4340-85A3-A5531E510DB2}">
      <thm15:themeFamily xmlns:thm15="http://schemas.microsoft.com/office/thememl/2012/main" name="empower blue 2023" id="{D94AD6F8-FC6A-4154-B559-59D30FF9DF35}" vid="{AAB2A20D-9137-40BE-B406-48FE8FCBFBA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Calibri" panose="020F050202020403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f016a47-d9d6-430c-863f-c309e8140729">
      <Terms xmlns="http://schemas.microsoft.com/office/infopath/2007/PartnerControls"/>
    </lcf76f155ced4ddcb4097134ff3c332f>
    <TaxCatchAll xmlns="e8f9acd8-fb62-4995-a82a-24ec5031e480"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FF9B7A738928449ADDD596720060256" ma:contentTypeVersion="20" ma:contentTypeDescription="Create a new document." ma:contentTypeScope="" ma:versionID="8f3feac928425540458d568059240ffb">
  <xsd:schema xmlns:xsd="http://www.w3.org/2001/XMLSchema" xmlns:xs="http://www.w3.org/2001/XMLSchema" xmlns:p="http://schemas.microsoft.com/office/2006/metadata/properties" xmlns:ns2="6f016a47-d9d6-430c-863f-c309e8140729" xmlns:ns3="e8f9acd8-fb62-4995-a82a-24ec5031e480" targetNamespace="http://schemas.microsoft.com/office/2006/metadata/properties" ma:root="true" ma:fieldsID="df0c131c20b3b277cd0b216599dc8fac" ns2:_="" ns3:_="">
    <xsd:import namespace="6f016a47-d9d6-430c-863f-c309e8140729"/>
    <xsd:import namespace="e8f9acd8-fb62-4995-a82a-24ec5031e48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3:TaxCatchAll" minOccurs="0"/>
                <xsd:element ref="ns2:lcf76f155ced4ddcb4097134ff3c332f"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016a47-d9d6-430c-863f-c309e814072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1a50ad6-ef49-41ed-9a30-1c034c54fb5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8f9acd8-fb62-4995-a82a-24ec5031e480"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583ed61b-adf1-4161-9a62-5a2b94527958}" ma:internalName="TaxCatchAll" ma:showField="CatchAllData" ma:web="e8f9acd8-fb62-4995-a82a-24ec5031e480">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810A553-6313-48B0-A676-C6C06091A5E4}">
  <ds:schemaRefs>
    <ds:schemaRef ds:uri="http://www.w3.org/XML/1998/namespace"/>
    <ds:schemaRef ds:uri="6f016a47-d9d6-430c-863f-c309e8140729"/>
    <ds:schemaRef ds:uri="http://purl.org/dc/dcmitype/"/>
    <ds:schemaRef ds:uri="http://schemas.microsoft.com/office/2006/documentManagement/types"/>
    <ds:schemaRef ds:uri="http://purl.org/dc/elements/1.1/"/>
    <ds:schemaRef ds:uri="e8f9acd8-fb62-4995-a82a-24ec5031e480"/>
    <ds:schemaRef ds:uri="http://schemas.openxmlformats.org/package/2006/metadata/core-properties"/>
    <ds:schemaRef ds:uri="http://schemas.microsoft.com/office/infopath/2007/PartnerControls"/>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246B4FFB-7033-4A4A-BB8C-9952C3EF02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f016a47-d9d6-430c-863f-c309e8140729"/>
    <ds:schemaRef ds:uri="e8f9acd8-fb62-4995-a82a-24ec5031e4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0D2CC91-213B-4CEF-9FD0-F290108A46D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625</TotalTime>
  <Words>1076</Words>
  <Application>Microsoft Office PowerPoint</Application>
  <PresentationFormat>Widescreen</PresentationFormat>
  <Paragraphs>163</Paragraphs>
  <Slides>8</Slides>
  <Notes>8</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8</vt:i4>
      </vt:variant>
    </vt:vector>
  </HeadingPairs>
  <TitlesOfParts>
    <vt:vector size="18" baseType="lpstr">
      <vt:lpstr>Arial</vt:lpstr>
      <vt:lpstr>Calibri</vt:lpstr>
      <vt:lpstr>Nunito Sans SemiBold</vt:lpstr>
      <vt:lpstr>Segoe UI</vt:lpstr>
      <vt:lpstr>Segoe UI Light</vt:lpstr>
      <vt:lpstr>Segoe UI Semibold</vt:lpstr>
      <vt:lpstr>Segoe UI Semilight</vt:lpstr>
      <vt:lpstr>Symbol</vt:lpstr>
      <vt:lpstr>Wingdings</vt:lpstr>
      <vt:lpstr>empower express</vt:lpstr>
      <vt:lpstr>Video guides</vt:lpstr>
      <vt:lpstr>empower® Express Lite Overview</vt:lpstr>
      <vt:lpstr>How does it work?</vt:lpstr>
      <vt:lpstr>empower® Lite videos</vt:lpstr>
      <vt:lpstr>empower® Lite Toolbar guides</vt:lpstr>
      <vt:lpstr>The empower® Lite ribbon – video guides</vt:lpstr>
      <vt:lpstr>Overview of empower® Express Lite ribbon</vt:lpstr>
      <vt:lpstr>Tool overview – quick access pane &amp; layout tools sideba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Georgina</dc:creator>
  <cp:lastModifiedBy>Derrick Waylen</cp:lastModifiedBy>
  <cp:revision>10</cp:revision>
  <dcterms:created xsi:type="dcterms:W3CDTF">2024-07-31T16:06:49Z</dcterms:created>
  <dcterms:modified xsi:type="dcterms:W3CDTF">2024-09-06T12:52: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F9B7A738928449ADDD596720060256</vt:lpwstr>
  </property>
  <property fmtid="{D5CDD505-2E9C-101B-9397-08002B2CF9AE}" pid="3" name="MediaServiceImageTags">
    <vt:lpwstr/>
  </property>
</Properties>
</file>